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9" r:id="rId2"/>
    <p:sldId id="263" r:id="rId3"/>
    <p:sldId id="266" r:id="rId4"/>
    <p:sldId id="267" r:id="rId5"/>
    <p:sldId id="261" r:id="rId6"/>
    <p:sldId id="268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B2A396AC-3659-4F81-BADB-052E84783015}">
          <p14:sldIdLst>
            <p14:sldId id="259"/>
            <p14:sldId id="263"/>
            <p14:sldId id="266"/>
            <p14:sldId id="267"/>
            <p14:sldId id="261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000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4660"/>
  </p:normalViewPr>
  <p:slideViewPr>
    <p:cSldViewPr snapToGrid="0">
      <p:cViewPr varScale="1">
        <p:scale>
          <a:sx n="68" d="100"/>
          <a:sy n="68" d="100"/>
        </p:scale>
        <p:origin x="9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AppData\Roaming\Microsoft\Excel\Toys_Analysis%20(version%201).xlsb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AppData\Roaming\Microsoft\Excel\Toys_Analysis%20(version%201)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esktop\Projects\MA_Power_BI\Maven%20Toys%20Data\Toys_Analysis(AutoRecovered)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p\Desktop\Projects\MA_Power_BI\Maven%20Toys%20Data\Toys_Analysis(AutoRecovered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3"/>
          <c:order val="3"/>
          <c:tx>
            <c:v>Shade</c:v>
          </c:tx>
          <c:spPr>
            <a:solidFill>
              <a:schemeClr val="tx2">
                <a:lumMod val="40000"/>
                <a:lumOff val="60000"/>
                <a:alpha val="50000"/>
              </a:schemeClr>
            </a:solidFill>
            <a:ln>
              <a:noFill/>
            </a:ln>
            <a:effectLst/>
          </c:spPr>
          <c:val>
            <c:numRef>
              <c:f>'Slide 1'!$L$2:$L$13</c:f>
              <c:numCache>
                <c:formatCode>General</c:formatCode>
                <c:ptCount val="12"/>
                <c:pt idx="8">
                  <c:v>300000</c:v>
                </c:pt>
                <c:pt idx="9">
                  <c:v>300000</c:v>
                </c:pt>
                <c:pt idx="10">
                  <c:v>300000</c:v>
                </c:pt>
                <c:pt idx="11">
                  <c:v>3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11-4A59-BAB5-4EF0D33E92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33980335"/>
        <c:axId val="1433984655"/>
      </c:areaChart>
      <c:lineChart>
        <c:grouping val="standard"/>
        <c:varyColors val="0"/>
        <c:ser>
          <c:idx val="0"/>
          <c:order val="0"/>
          <c:tx>
            <c:v>2022</c:v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-1.100918132136619E-16"/>
                  <c:y val="-7.754146738577436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>
                          <a:lumMod val="65000"/>
                        </a:schemeClr>
                      </a:solidFill>
                      <a:latin typeface="Arial Rounded MT Bold" panose="020F070403050403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17A-458A-9444-639DDC3206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Arial Rounded MT Bold" panose="020F07040305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lide 1'!$F$2:$F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'Slide 1'!$G$2:$G$13</c:f>
              <c:numCache>
                <c:formatCode>_("$"* #,##0.00_);_("$"* \(#,##0.00\);_("$"* "-"??_);_(@_)</c:formatCode>
                <c:ptCount val="12"/>
                <c:pt idx="0">
                  <c:v>167126</c:v>
                </c:pt>
                <c:pt idx="1">
                  <c:v>161861</c:v>
                </c:pt>
                <c:pt idx="2">
                  <c:v>173992</c:v>
                </c:pt>
                <c:pt idx="3">
                  <c:v>190099</c:v>
                </c:pt>
                <c:pt idx="4">
                  <c:v>186894</c:v>
                </c:pt>
                <c:pt idx="5">
                  <c:v>189815</c:v>
                </c:pt>
                <c:pt idx="6">
                  <c:v>176922</c:v>
                </c:pt>
                <c:pt idx="7">
                  <c:v>158931</c:v>
                </c:pt>
                <c:pt idx="8">
                  <c:v>166397</c:v>
                </c:pt>
                <c:pt idx="9">
                  <c:v>178799</c:v>
                </c:pt>
                <c:pt idx="10">
                  <c:v>192873</c:v>
                </c:pt>
                <c:pt idx="11">
                  <c:v>246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11-4A59-BAB5-4EF0D33E921C}"/>
            </c:ext>
          </c:extLst>
        </c:ser>
        <c:ser>
          <c:idx val="1"/>
          <c:order val="1"/>
          <c:tx>
            <c:v>2023</c:v>
          </c:tx>
          <c:spPr>
            <a:ln w="28575" cap="rnd">
              <a:solidFill>
                <a:schemeClr val="tx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circle"/>
              <c:size val="5"/>
              <c:spPr>
                <a:noFill/>
                <a:ln w="1714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17A-458A-9444-639DDC32066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17A-458A-9444-639DDC32066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17A-458A-9444-639DDC32066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7A-458A-9444-639DDC32066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17A-458A-9444-639DDC32066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17A-458A-9444-639DDC32066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17A-458A-9444-639DDC320660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17A-458A-9444-639DDC320660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17A-458A-9444-639DDC320660}"/>
                </c:ext>
              </c:extLst>
            </c:dLbl>
            <c:dLbl>
              <c:idx val="8"/>
              <c:layout>
                <c:manualLayout>
                  <c:x val="0.21652896362294344"/>
                  <c:y val="-0.2791493843492418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2">
                          <a:lumMod val="75000"/>
                        </a:schemeClr>
                      </a:solidFill>
                      <a:latin typeface="Arial Rounded MT Bold" panose="020F070403050403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590727025732465E-2"/>
                      <c:h val="6.199450493538209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117A-458A-9444-639DDC3206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lide 1'!$F$2:$F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'Slide 1'!$H$2:$H$10</c:f>
              <c:numCache>
                <c:formatCode>_("$"* #,##0.00_);_("$"* \(#,##0.00\);_("$"* "-"??_);_(@_)</c:formatCode>
                <c:ptCount val="9"/>
                <c:pt idx="0">
                  <c:v>205074</c:v>
                </c:pt>
                <c:pt idx="1">
                  <c:v>189314</c:v>
                </c:pt>
                <c:pt idx="2">
                  <c:v>231909</c:v>
                </c:pt>
                <c:pt idx="3">
                  <c:v>215096</c:v>
                </c:pt>
                <c:pt idx="4">
                  <c:v>210347</c:v>
                </c:pt>
                <c:pt idx="5">
                  <c:v>207212</c:v>
                </c:pt>
                <c:pt idx="6">
                  <c:v>209807</c:v>
                </c:pt>
                <c:pt idx="7">
                  <c:v>175038</c:v>
                </c:pt>
                <c:pt idx="8">
                  <c:v>1804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11-4A59-BAB5-4EF0D33E921C}"/>
            </c:ext>
          </c:extLst>
        </c:ser>
        <c:ser>
          <c:idx val="2"/>
          <c:order val="2"/>
          <c:tx>
            <c:v>Forcast</c:v>
          </c:tx>
          <c:spPr>
            <a:ln w="28575" cap="rnd">
              <a:solidFill>
                <a:schemeClr val="tx2">
                  <a:lumMod val="75000"/>
                </a:schemeClr>
              </a:solidFill>
              <a:prstDash val="dash"/>
              <a:round/>
              <a:tailEnd type="triangle"/>
            </a:ln>
            <a:effectLst/>
          </c:spPr>
          <c:marker>
            <c:symbol val="none"/>
          </c:marker>
          <c:val>
            <c:numRef>
              <c:f>'Slide 1'!$K$2:$K$13</c:f>
              <c:numCache>
                <c:formatCode>General</c:formatCode>
                <c:ptCount val="12"/>
                <c:pt idx="8" formatCode="_(&quot;$&quot;* #,##0.00_);_(&quot;$&quot;* \(#,##0.00\);_(&quot;$&quot;* &quot;-&quot;??_);_(@_)">
                  <c:v>180445</c:v>
                </c:pt>
                <c:pt idx="9" formatCode="_(&quot;$&quot;* #,##0.00_);_(&quot;$&quot;* \(#,##0.00\);_(&quot;$&quot;* &quot;-&quot;??_);_(@_)">
                  <c:v>204969.45193929583</c:v>
                </c:pt>
                <c:pt idx="10" formatCode="_(&quot;$&quot;* #,##0.00_);_(&quot;$&quot;* \(#,##0.00\);_(&quot;$&quot;* &quot;-&quot;??_);_(@_)">
                  <c:v>221103.43516399871</c:v>
                </c:pt>
                <c:pt idx="11" formatCode="_(&quot;$&quot;* #,##0.00_);_(&quot;$&quot;* \(#,##0.00\);_(&quot;$&quot;* &quot;-&quot;??_);_(@_)">
                  <c:v>282095.94457641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11-4A59-BAB5-4EF0D33E92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3980335"/>
        <c:axId val="1433984655"/>
      </c:lineChart>
      <c:catAx>
        <c:axId val="1433980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3984655"/>
        <c:crosses val="autoZero"/>
        <c:auto val="1"/>
        <c:lblAlgn val="ctr"/>
        <c:lblOffset val="100"/>
        <c:noMultiLvlLbl val="0"/>
      </c:catAx>
      <c:valAx>
        <c:axId val="1433984655"/>
        <c:scaling>
          <c:orientation val="minMax"/>
          <c:max val="350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2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3980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Toys_Analysis (version 1).xlsb]Slide 2!PivotTable4</c:name>
    <c:fmtId val="8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5.8696925188352192E-2"/>
          <c:y val="3.111879762490288E-2"/>
          <c:w val="0.9228319159082311"/>
          <c:h val="0.77285661206509415"/>
        </c:manualLayout>
      </c:layout>
      <c:lineChart>
        <c:grouping val="standard"/>
        <c:varyColors val="0"/>
        <c:ser>
          <c:idx val="0"/>
          <c:order val="0"/>
          <c:tx>
            <c:strRef>
              <c:f>'Slide 2'!$B$1:$B$2</c:f>
              <c:strCache>
                <c:ptCount val="1"/>
                <c:pt idx="0">
                  <c:v>Art &amp; Crafts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0"/>
              <c:layout>
                <c:manualLayout>
                  <c:x val="-1.6931358388436242E-16"/>
                  <c:y val="-3.363161901819508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DA6-4678-B210-05E62F41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Slide 2'!$A$3:$A$26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Slide 2'!$B$3:$B$26</c:f>
              <c:numCache>
                <c:formatCode>\$#,##0.00;\(\$#,##0.00\);\$#,##0.00</c:formatCode>
                <c:ptCount val="21"/>
                <c:pt idx="0">
                  <c:v>9928</c:v>
                </c:pt>
                <c:pt idx="1">
                  <c:v>9740</c:v>
                </c:pt>
                <c:pt idx="2">
                  <c:v>15299</c:v>
                </c:pt>
                <c:pt idx="3">
                  <c:v>19251</c:v>
                </c:pt>
                <c:pt idx="4">
                  <c:v>19557</c:v>
                </c:pt>
                <c:pt idx="5">
                  <c:v>16779</c:v>
                </c:pt>
                <c:pt idx="6">
                  <c:v>16669</c:v>
                </c:pt>
                <c:pt idx="7">
                  <c:v>15448</c:v>
                </c:pt>
                <c:pt idx="8">
                  <c:v>21989</c:v>
                </c:pt>
                <c:pt idx="9">
                  <c:v>29757</c:v>
                </c:pt>
                <c:pt idx="10">
                  <c:v>41909</c:v>
                </c:pt>
                <c:pt idx="11">
                  <c:v>56623</c:v>
                </c:pt>
                <c:pt idx="12">
                  <c:v>50698</c:v>
                </c:pt>
                <c:pt idx="13">
                  <c:v>49496</c:v>
                </c:pt>
                <c:pt idx="14">
                  <c:v>56064</c:v>
                </c:pt>
                <c:pt idx="15">
                  <c:v>57720</c:v>
                </c:pt>
                <c:pt idx="16">
                  <c:v>56475</c:v>
                </c:pt>
                <c:pt idx="17">
                  <c:v>50501</c:v>
                </c:pt>
                <c:pt idx="18">
                  <c:v>54800</c:v>
                </c:pt>
                <c:pt idx="19">
                  <c:v>44603</c:v>
                </c:pt>
                <c:pt idx="20">
                  <c:v>60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23F-4FB1-95FF-E66C77D9C021}"/>
            </c:ext>
          </c:extLst>
        </c:ser>
        <c:ser>
          <c:idx val="1"/>
          <c:order val="1"/>
          <c:tx>
            <c:strRef>
              <c:f>'Slide 2'!$C$1:$C$2</c:f>
              <c:strCache>
                <c:ptCount val="1"/>
                <c:pt idx="0">
                  <c:v>Electronics</c:v>
                </c:pt>
              </c:strCache>
            </c:strRef>
          </c:tx>
          <c:spPr>
            <a:ln w="28575" cap="rnd">
              <a:solidFill>
                <a:srgbClr val="960000"/>
              </a:solidFill>
              <a:round/>
            </a:ln>
            <a:effectLst/>
          </c:spPr>
          <c:marker>
            <c:symbol val="none"/>
          </c:marker>
          <c:dLbls>
            <c:dLbl>
              <c:idx val="20"/>
              <c:layout>
                <c:manualLayout>
                  <c:x val="0"/>
                  <c:y val="4.20395237727437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DA6-4678-B210-05E62F41BC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Slide 2'!$A$3:$A$26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Slide 2'!$C$3:$C$26</c:f>
              <c:numCache>
                <c:formatCode>\$#,##0.00;\(\$#,##0.00\);\$#,##0.00</c:formatCode>
                <c:ptCount val="21"/>
                <c:pt idx="0">
                  <c:v>69020</c:v>
                </c:pt>
                <c:pt idx="1">
                  <c:v>64676</c:v>
                </c:pt>
                <c:pt idx="2">
                  <c:v>65864</c:v>
                </c:pt>
                <c:pt idx="3">
                  <c:v>61921</c:v>
                </c:pt>
                <c:pt idx="4">
                  <c:v>58402</c:v>
                </c:pt>
                <c:pt idx="5">
                  <c:v>55603</c:v>
                </c:pt>
                <c:pt idx="6">
                  <c:v>55822</c:v>
                </c:pt>
                <c:pt idx="7">
                  <c:v>57952</c:v>
                </c:pt>
                <c:pt idx="8">
                  <c:v>48030</c:v>
                </c:pt>
                <c:pt idx="9">
                  <c:v>48675</c:v>
                </c:pt>
                <c:pt idx="10">
                  <c:v>43682</c:v>
                </c:pt>
                <c:pt idx="11">
                  <c:v>44760</c:v>
                </c:pt>
                <c:pt idx="12">
                  <c:v>41720</c:v>
                </c:pt>
                <c:pt idx="13">
                  <c:v>39246</c:v>
                </c:pt>
                <c:pt idx="14">
                  <c:v>41181</c:v>
                </c:pt>
                <c:pt idx="15">
                  <c:v>36707</c:v>
                </c:pt>
                <c:pt idx="16">
                  <c:v>33192</c:v>
                </c:pt>
                <c:pt idx="17">
                  <c:v>34138</c:v>
                </c:pt>
                <c:pt idx="18">
                  <c:v>36967</c:v>
                </c:pt>
                <c:pt idx="19">
                  <c:v>34685</c:v>
                </c:pt>
                <c:pt idx="20">
                  <c:v>29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23F-4FB1-95FF-E66C77D9C021}"/>
            </c:ext>
          </c:extLst>
        </c:ser>
        <c:ser>
          <c:idx val="2"/>
          <c:order val="2"/>
          <c:tx>
            <c:strRef>
              <c:f>'Slide 2'!$D$1:$D$2</c:f>
              <c:strCache>
                <c:ptCount val="1"/>
                <c:pt idx="0">
                  <c:v>Games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'Slide 2'!$A$3:$A$26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Slide 2'!$D$3:$D$26</c:f>
              <c:numCache>
                <c:formatCode>\$#,##0.00;\(\$#,##0.00\);\$#,##0.00</c:formatCode>
                <c:ptCount val="21"/>
                <c:pt idx="0">
                  <c:v>28308</c:v>
                </c:pt>
                <c:pt idx="1">
                  <c:v>25764</c:v>
                </c:pt>
                <c:pt idx="2">
                  <c:v>24982</c:v>
                </c:pt>
                <c:pt idx="3">
                  <c:v>28401</c:v>
                </c:pt>
                <c:pt idx="4">
                  <c:v>28628</c:v>
                </c:pt>
                <c:pt idx="5">
                  <c:v>34461</c:v>
                </c:pt>
                <c:pt idx="6">
                  <c:v>35407</c:v>
                </c:pt>
                <c:pt idx="7">
                  <c:v>27869</c:v>
                </c:pt>
                <c:pt idx="8">
                  <c:v>27987</c:v>
                </c:pt>
                <c:pt idx="9">
                  <c:v>31315</c:v>
                </c:pt>
                <c:pt idx="10">
                  <c:v>32875</c:v>
                </c:pt>
                <c:pt idx="11">
                  <c:v>52384</c:v>
                </c:pt>
                <c:pt idx="12">
                  <c:v>41824</c:v>
                </c:pt>
                <c:pt idx="13">
                  <c:v>35758</c:v>
                </c:pt>
                <c:pt idx="14">
                  <c:v>40004</c:v>
                </c:pt>
                <c:pt idx="15">
                  <c:v>38014</c:v>
                </c:pt>
                <c:pt idx="16">
                  <c:v>31726</c:v>
                </c:pt>
                <c:pt idx="17">
                  <c:v>31197</c:v>
                </c:pt>
                <c:pt idx="18">
                  <c:v>31956</c:v>
                </c:pt>
                <c:pt idx="19">
                  <c:v>24611</c:v>
                </c:pt>
                <c:pt idx="20">
                  <c:v>20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3F-4FB1-95FF-E66C77D9C021}"/>
            </c:ext>
          </c:extLst>
        </c:ser>
        <c:ser>
          <c:idx val="3"/>
          <c:order val="3"/>
          <c:tx>
            <c:strRef>
              <c:f>'Slide 2'!$E$1:$E$2</c:f>
              <c:strCache>
                <c:ptCount val="1"/>
                <c:pt idx="0">
                  <c:v>Sports &amp; Outdoors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'Slide 2'!$A$3:$A$26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Slide 2'!$E$3:$E$26</c:f>
              <c:numCache>
                <c:formatCode>\$#,##0.00;\(\$#,##0.00\);\$#,##0.00</c:formatCode>
                <c:ptCount val="21"/>
                <c:pt idx="0">
                  <c:v>19409</c:v>
                </c:pt>
                <c:pt idx="1">
                  <c:v>17945</c:v>
                </c:pt>
                <c:pt idx="2">
                  <c:v>17283</c:v>
                </c:pt>
                <c:pt idx="3">
                  <c:v>22448</c:v>
                </c:pt>
                <c:pt idx="4">
                  <c:v>21719</c:v>
                </c:pt>
                <c:pt idx="5">
                  <c:v>24098</c:v>
                </c:pt>
                <c:pt idx="6">
                  <c:v>25480</c:v>
                </c:pt>
                <c:pt idx="7">
                  <c:v>18556</c:v>
                </c:pt>
                <c:pt idx="8">
                  <c:v>18035</c:v>
                </c:pt>
                <c:pt idx="9">
                  <c:v>17061</c:v>
                </c:pt>
                <c:pt idx="10">
                  <c:v>18124</c:v>
                </c:pt>
                <c:pt idx="11">
                  <c:v>34868</c:v>
                </c:pt>
                <c:pt idx="12">
                  <c:v>23245</c:v>
                </c:pt>
                <c:pt idx="13">
                  <c:v>21849</c:v>
                </c:pt>
                <c:pt idx="14">
                  <c:v>34682</c:v>
                </c:pt>
                <c:pt idx="15">
                  <c:v>30007</c:v>
                </c:pt>
                <c:pt idx="16">
                  <c:v>32552</c:v>
                </c:pt>
                <c:pt idx="17">
                  <c:v>29005</c:v>
                </c:pt>
                <c:pt idx="18">
                  <c:v>28823</c:v>
                </c:pt>
                <c:pt idx="19">
                  <c:v>23284</c:v>
                </c:pt>
                <c:pt idx="20">
                  <c:v>27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23F-4FB1-95FF-E66C77D9C021}"/>
            </c:ext>
          </c:extLst>
        </c:ser>
        <c:ser>
          <c:idx val="4"/>
          <c:order val="4"/>
          <c:tx>
            <c:strRef>
              <c:f>'Slide 2'!$F$1:$F$2</c:f>
              <c:strCache>
                <c:ptCount val="1"/>
                <c:pt idx="0">
                  <c:v>Toys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'Slide 2'!$A$3:$A$26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Slide 2'!$F$3:$F$26</c:f>
              <c:numCache>
                <c:formatCode>\$#,##0.00;\(\$#,##0.00\);\$#,##0.00</c:formatCode>
                <c:ptCount val="21"/>
                <c:pt idx="0">
                  <c:v>40461</c:v>
                </c:pt>
                <c:pt idx="1">
                  <c:v>43736</c:v>
                </c:pt>
                <c:pt idx="2">
                  <c:v>50564</c:v>
                </c:pt>
                <c:pt idx="3">
                  <c:v>58078</c:v>
                </c:pt>
                <c:pt idx="4">
                  <c:v>58588</c:v>
                </c:pt>
                <c:pt idx="5">
                  <c:v>58874</c:v>
                </c:pt>
                <c:pt idx="6">
                  <c:v>43544</c:v>
                </c:pt>
                <c:pt idx="7">
                  <c:v>39106</c:v>
                </c:pt>
                <c:pt idx="8">
                  <c:v>50356</c:v>
                </c:pt>
                <c:pt idx="9">
                  <c:v>51991</c:v>
                </c:pt>
                <c:pt idx="10">
                  <c:v>56283</c:v>
                </c:pt>
                <c:pt idx="11">
                  <c:v>57443</c:v>
                </c:pt>
                <c:pt idx="12">
                  <c:v>47587</c:v>
                </c:pt>
                <c:pt idx="13">
                  <c:v>42965</c:v>
                </c:pt>
                <c:pt idx="14">
                  <c:v>59978</c:v>
                </c:pt>
                <c:pt idx="15">
                  <c:v>52648</c:v>
                </c:pt>
                <c:pt idx="16">
                  <c:v>56402</c:v>
                </c:pt>
                <c:pt idx="17">
                  <c:v>62371</c:v>
                </c:pt>
                <c:pt idx="18">
                  <c:v>57261</c:v>
                </c:pt>
                <c:pt idx="19">
                  <c:v>47855</c:v>
                </c:pt>
                <c:pt idx="20">
                  <c:v>43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23F-4FB1-95FF-E66C77D9C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0198975"/>
        <c:axId val="690209535"/>
      </c:lineChart>
      <c:catAx>
        <c:axId val="690198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690209535"/>
        <c:crosses val="autoZero"/>
        <c:auto val="1"/>
        <c:lblAlgn val="ctr"/>
        <c:lblOffset val="100"/>
        <c:noMultiLvlLbl val="0"/>
      </c:catAx>
      <c:valAx>
        <c:axId val="690209535"/>
        <c:scaling>
          <c:orientation val="minMax"/>
          <c:max val="70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25000"/>
                </a:schemeClr>
              </a:solidFill>
              <a:round/>
            </a:ln>
            <a:effectLst/>
          </c:spPr>
        </c:majorGridlines>
        <c:numFmt formatCode="\$#,##0.00;\(\$#,##0.00\);\$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6901989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Toys_Analysis(AutoRecovered).xlsx]Sheet1!PivotTable1</c:name>
    <c:fmtId val="6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9.3500566509598093E-2"/>
          <c:y val="0.12005353457792528"/>
          <c:w val="0.90649945374077245"/>
          <c:h val="0.69966773257492909"/>
        </c:manualLayout>
      </c:layout>
      <c:lineChart>
        <c:grouping val="standard"/>
        <c:varyColors val="0"/>
        <c:ser>
          <c:idx val="0"/>
          <c:order val="0"/>
          <c:tx>
            <c:strRef>
              <c:f>Sheet1!$M$21</c:f>
              <c:strCache>
                <c:ptCount val="1"/>
                <c:pt idx="0">
                  <c:v>Art &amp; Crafts - Revenue (Total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0"/>
              <c:layout>
                <c:manualLayout>
                  <c:x val="-5.2378196977489336E-3"/>
                  <c:y val="0.12704453750012737"/>
                </c:manualLayout>
              </c:layout>
              <c:tx>
                <c:rich>
                  <a:bodyPr/>
                  <a:lstStyle/>
                  <a:p>
                    <a:fld id="{16078582-D18C-402B-9571-A966D580D3BB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16078582-D18C-402B-9571-A966D580D3BB}</c15:txfldGUID>
                      <c15:f>Sheet1!$M$21</c15:f>
                      <c15:dlblFieldTableCache>
                        <c:ptCount val="1"/>
                        <c:pt idx="0">
                          <c:v>Art &amp; Crafts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61F6-4297-A29F-0D1211C3F5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M$21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Sheet1!$M$21</c:f>
              <c:numCache>
                <c:formatCode>\$#,##0.00;\(\$#,##0.00\);\$#,##0.00</c:formatCode>
                <c:ptCount val="21"/>
                <c:pt idx="0">
                  <c:v>35097.18</c:v>
                </c:pt>
                <c:pt idx="1">
                  <c:v>33882.730000000003</c:v>
                </c:pt>
                <c:pt idx="2">
                  <c:v>51700.71</c:v>
                </c:pt>
                <c:pt idx="3">
                  <c:v>65344.04</c:v>
                </c:pt>
                <c:pt idx="4">
                  <c:v>70988.87</c:v>
                </c:pt>
                <c:pt idx="5">
                  <c:v>63056.12</c:v>
                </c:pt>
                <c:pt idx="6">
                  <c:v>65651.5</c:v>
                </c:pt>
                <c:pt idx="7">
                  <c:v>57055.23</c:v>
                </c:pt>
                <c:pt idx="8">
                  <c:v>68369.89</c:v>
                </c:pt>
                <c:pt idx="9">
                  <c:v>85597.9</c:v>
                </c:pt>
                <c:pt idx="10">
                  <c:v>118599.57</c:v>
                </c:pt>
                <c:pt idx="11">
                  <c:v>191297.14</c:v>
                </c:pt>
                <c:pt idx="12">
                  <c:v>195905.22</c:v>
                </c:pt>
                <c:pt idx="13">
                  <c:v>187713.1</c:v>
                </c:pt>
                <c:pt idx="14">
                  <c:v>205848.13</c:v>
                </c:pt>
                <c:pt idx="15">
                  <c:v>230299.15</c:v>
                </c:pt>
                <c:pt idx="16">
                  <c:v>226843.87</c:v>
                </c:pt>
                <c:pt idx="17">
                  <c:v>202725.66</c:v>
                </c:pt>
                <c:pt idx="18">
                  <c:v>206862.98</c:v>
                </c:pt>
                <c:pt idx="19">
                  <c:v>155295.63</c:v>
                </c:pt>
                <c:pt idx="20">
                  <c:v>187229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F6-4297-A29F-0D1211C3F5B0}"/>
            </c:ext>
          </c:extLst>
        </c:ser>
        <c:ser>
          <c:idx val="1"/>
          <c:order val="1"/>
          <c:tx>
            <c:strRef>
              <c:f>Sheet1!$M$21</c:f>
              <c:strCache>
                <c:ptCount val="1"/>
                <c:pt idx="0">
                  <c:v>Art &amp; Crafts - Cost (Total)</c:v>
                </c:pt>
              </c:strCache>
            </c:strRef>
          </c:tx>
          <c:spPr>
            <a:ln w="19050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none"/>
          </c:marker>
          <c:cat>
            <c:multiLvlStrRef>
              <c:f>Sheet1!$M$21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Sheet1!$M$21</c:f>
              <c:numCache>
                <c:formatCode>#,##0.0</c:formatCode>
                <c:ptCount val="21"/>
                <c:pt idx="0">
                  <c:v>25169.18</c:v>
                </c:pt>
                <c:pt idx="1">
                  <c:v>24142.73</c:v>
                </c:pt>
                <c:pt idx="2">
                  <c:v>36401.71</c:v>
                </c:pt>
                <c:pt idx="3">
                  <c:v>46093.04</c:v>
                </c:pt>
                <c:pt idx="4">
                  <c:v>51431.87</c:v>
                </c:pt>
                <c:pt idx="5">
                  <c:v>46277.120000000003</c:v>
                </c:pt>
                <c:pt idx="6">
                  <c:v>48982.5</c:v>
                </c:pt>
                <c:pt idx="7">
                  <c:v>41607.230000000003</c:v>
                </c:pt>
                <c:pt idx="8">
                  <c:v>46380.89</c:v>
                </c:pt>
                <c:pt idx="9">
                  <c:v>55840.9</c:v>
                </c:pt>
                <c:pt idx="10">
                  <c:v>76690.570000000007</c:v>
                </c:pt>
                <c:pt idx="11">
                  <c:v>134674.14000000001</c:v>
                </c:pt>
                <c:pt idx="12">
                  <c:v>145207.22</c:v>
                </c:pt>
                <c:pt idx="13">
                  <c:v>138217.1</c:v>
                </c:pt>
                <c:pt idx="14">
                  <c:v>149784.13</c:v>
                </c:pt>
                <c:pt idx="15">
                  <c:v>172579.15</c:v>
                </c:pt>
                <c:pt idx="16">
                  <c:v>170368.87</c:v>
                </c:pt>
                <c:pt idx="17">
                  <c:v>152224.66</c:v>
                </c:pt>
                <c:pt idx="18">
                  <c:v>152062.98000000001</c:v>
                </c:pt>
                <c:pt idx="19">
                  <c:v>110692.63</c:v>
                </c:pt>
                <c:pt idx="20">
                  <c:v>127181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F6-4297-A29F-0D1211C3F5B0}"/>
            </c:ext>
          </c:extLst>
        </c:ser>
        <c:ser>
          <c:idx val="2"/>
          <c:order val="2"/>
          <c:tx>
            <c:strRef>
              <c:f>Sheet1!$M$21</c:f>
              <c:strCache>
                <c:ptCount val="1"/>
                <c:pt idx="0">
                  <c:v>Electronics - Revenue (Total)</c:v>
                </c:pt>
              </c:strCache>
            </c:strRef>
          </c:tx>
          <c:spPr>
            <a:ln w="28575" cap="rnd">
              <a:solidFill>
                <a:srgbClr val="960000"/>
              </a:solidFill>
              <a:round/>
            </a:ln>
            <a:effectLst/>
          </c:spPr>
          <c:marker>
            <c:symbol val="none"/>
          </c:marker>
          <c:dLbls>
            <c:dLbl>
              <c:idx val="20"/>
              <c:layout>
                <c:manualLayout>
                  <c:x val="-3.9283647733117004E-3"/>
                  <c:y val="3.5956001179281431E-2"/>
                </c:manualLayout>
              </c:layout>
              <c:tx>
                <c:rich>
                  <a:bodyPr/>
                  <a:lstStyle/>
                  <a:p>
                    <a:fld id="{7D20FA3F-004F-4826-993E-5B50AAC0852F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7D20FA3F-004F-4826-993E-5B50AAC0852F}</c15:txfldGUID>
                      <c15:f>Sheet1!$M$22</c15:f>
                      <c15:dlblFieldTableCache>
                        <c:ptCount val="1"/>
                        <c:pt idx="0">
                          <c:v>Electronics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61F6-4297-A29F-0D1211C3F5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M$21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Sheet1!$M$21</c:f>
              <c:numCache>
                <c:formatCode>\$#,##0.00;\(\$#,##0.00\);\$#,##0.00</c:formatCode>
                <c:ptCount val="21"/>
                <c:pt idx="0">
                  <c:v>143088.62</c:v>
                </c:pt>
                <c:pt idx="1">
                  <c:v>133353.41</c:v>
                </c:pt>
                <c:pt idx="2">
                  <c:v>133784.32999999999</c:v>
                </c:pt>
                <c:pt idx="3">
                  <c:v>128606.76</c:v>
                </c:pt>
                <c:pt idx="4">
                  <c:v>118107.04</c:v>
                </c:pt>
                <c:pt idx="5">
                  <c:v>116003.83</c:v>
                </c:pt>
                <c:pt idx="6">
                  <c:v>114622.89</c:v>
                </c:pt>
                <c:pt idx="7">
                  <c:v>122930.06</c:v>
                </c:pt>
                <c:pt idx="8">
                  <c:v>106980.79</c:v>
                </c:pt>
                <c:pt idx="9">
                  <c:v>113795.65</c:v>
                </c:pt>
                <c:pt idx="10">
                  <c:v>100433.83</c:v>
                </c:pt>
                <c:pt idx="11">
                  <c:v>108751.98</c:v>
                </c:pt>
                <c:pt idx="12">
                  <c:v>102774.81</c:v>
                </c:pt>
                <c:pt idx="13">
                  <c:v>98999.69</c:v>
                </c:pt>
                <c:pt idx="14">
                  <c:v>101111.66</c:v>
                </c:pt>
                <c:pt idx="15">
                  <c:v>89174.16</c:v>
                </c:pt>
                <c:pt idx="16">
                  <c:v>83904.19</c:v>
                </c:pt>
                <c:pt idx="17">
                  <c:v>84604.34</c:v>
                </c:pt>
                <c:pt idx="18">
                  <c:v>88597.15</c:v>
                </c:pt>
                <c:pt idx="19">
                  <c:v>84598.88</c:v>
                </c:pt>
                <c:pt idx="20">
                  <c:v>72547.17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F6-4297-A29F-0D1211C3F5B0}"/>
            </c:ext>
          </c:extLst>
        </c:ser>
        <c:ser>
          <c:idx val="3"/>
          <c:order val="3"/>
          <c:tx>
            <c:strRef>
              <c:f>Sheet1!$M$21</c:f>
              <c:strCache>
                <c:ptCount val="1"/>
                <c:pt idx="0">
                  <c:v>Electronics - Cost (Total)</c:v>
                </c:pt>
              </c:strCache>
            </c:strRef>
          </c:tx>
          <c:spPr>
            <a:ln w="19050" cap="rnd">
              <a:solidFill>
                <a:srgbClr val="960000"/>
              </a:solidFill>
              <a:prstDash val="dash"/>
              <a:round/>
            </a:ln>
            <a:effectLst/>
          </c:spPr>
          <c:marker>
            <c:symbol val="none"/>
          </c:marker>
          <c:cat>
            <c:multiLvlStrRef>
              <c:f>Sheet1!$M$21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Sheet1!$M$21</c:f>
              <c:numCache>
                <c:formatCode>#,##0.0</c:formatCode>
                <c:ptCount val="21"/>
                <c:pt idx="0">
                  <c:v>74068.62</c:v>
                </c:pt>
                <c:pt idx="1">
                  <c:v>68677.41</c:v>
                </c:pt>
                <c:pt idx="2">
                  <c:v>67920.33</c:v>
                </c:pt>
                <c:pt idx="3">
                  <c:v>66685.759999999995</c:v>
                </c:pt>
                <c:pt idx="4">
                  <c:v>59705.04</c:v>
                </c:pt>
                <c:pt idx="5">
                  <c:v>60400.83</c:v>
                </c:pt>
                <c:pt idx="6">
                  <c:v>58800.89</c:v>
                </c:pt>
                <c:pt idx="7">
                  <c:v>64978.06</c:v>
                </c:pt>
                <c:pt idx="8">
                  <c:v>58950.79</c:v>
                </c:pt>
                <c:pt idx="9">
                  <c:v>65120.65</c:v>
                </c:pt>
                <c:pt idx="10">
                  <c:v>56751.83</c:v>
                </c:pt>
                <c:pt idx="11">
                  <c:v>63991.98</c:v>
                </c:pt>
                <c:pt idx="12">
                  <c:v>61054.81</c:v>
                </c:pt>
                <c:pt idx="13">
                  <c:v>59753.69</c:v>
                </c:pt>
                <c:pt idx="14">
                  <c:v>59930.66</c:v>
                </c:pt>
                <c:pt idx="15">
                  <c:v>52467.16</c:v>
                </c:pt>
                <c:pt idx="16">
                  <c:v>50712.19</c:v>
                </c:pt>
                <c:pt idx="17">
                  <c:v>50466.34</c:v>
                </c:pt>
                <c:pt idx="18">
                  <c:v>51630.15</c:v>
                </c:pt>
                <c:pt idx="19">
                  <c:v>49913.88</c:v>
                </c:pt>
                <c:pt idx="20">
                  <c:v>43353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1F6-4297-A29F-0D1211C3F5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6446992"/>
        <c:axId val="256428752"/>
      </c:lineChart>
      <c:catAx>
        <c:axId val="25644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56428752"/>
        <c:crosses val="autoZero"/>
        <c:auto val="1"/>
        <c:lblAlgn val="ctr"/>
        <c:lblOffset val="100"/>
        <c:noMultiLvlLbl val="0"/>
      </c:catAx>
      <c:valAx>
        <c:axId val="256428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25000"/>
                </a:schemeClr>
              </a:solidFill>
              <a:round/>
            </a:ln>
            <a:effectLst/>
          </c:spPr>
        </c:majorGridlines>
        <c:numFmt formatCode="\$#,##0.00;\(\$#,##0.00\);\$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56446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with new products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multiLvlStrRef>
              <c:f>'test 1'!$F$2:$G$22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test 1'!$H$2:$H$22</c:f>
              <c:numCache>
                <c:formatCode>_("$"* #,##0_);_("$"* \(#,##0\);_("$"* "-"??_);_(@_)</c:formatCode>
                <c:ptCount val="21"/>
                <c:pt idx="0">
                  <c:v>9928</c:v>
                </c:pt>
                <c:pt idx="1">
                  <c:v>9740</c:v>
                </c:pt>
                <c:pt idx="2">
                  <c:v>15299</c:v>
                </c:pt>
                <c:pt idx="3">
                  <c:v>19251</c:v>
                </c:pt>
                <c:pt idx="4">
                  <c:v>19557</c:v>
                </c:pt>
                <c:pt idx="5">
                  <c:v>16779</c:v>
                </c:pt>
                <c:pt idx="6">
                  <c:v>16669</c:v>
                </c:pt>
                <c:pt idx="7">
                  <c:v>15448</c:v>
                </c:pt>
                <c:pt idx="8">
                  <c:v>21989</c:v>
                </c:pt>
                <c:pt idx="9">
                  <c:v>29757</c:v>
                </c:pt>
                <c:pt idx="10">
                  <c:v>41909</c:v>
                </c:pt>
                <c:pt idx="11">
                  <c:v>56623</c:v>
                </c:pt>
                <c:pt idx="12">
                  <c:v>50698</c:v>
                </c:pt>
                <c:pt idx="13">
                  <c:v>49496</c:v>
                </c:pt>
                <c:pt idx="14">
                  <c:v>56064</c:v>
                </c:pt>
                <c:pt idx="15">
                  <c:v>57720</c:v>
                </c:pt>
                <c:pt idx="16">
                  <c:v>56475</c:v>
                </c:pt>
                <c:pt idx="17">
                  <c:v>50501</c:v>
                </c:pt>
                <c:pt idx="18">
                  <c:v>54800</c:v>
                </c:pt>
                <c:pt idx="19">
                  <c:v>44603</c:v>
                </c:pt>
                <c:pt idx="20">
                  <c:v>60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5F-4923-AAD2-682180915140}"/>
            </c:ext>
          </c:extLst>
        </c:ser>
        <c:ser>
          <c:idx val="1"/>
          <c:order val="1"/>
          <c:tx>
            <c:v>without new products</c:v>
          </c:tx>
          <c:spPr>
            <a:ln w="19050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none"/>
          </c:marker>
          <c:cat>
            <c:multiLvlStrRef>
              <c:f>'test 1'!$F$2:$G$22</c:f>
              <c:multiLvlStrCache>
                <c:ptCount val="21"/>
                <c:lvl>
                  <c:pt idx="0">
                    <c:v>January</c:v>
                  </c:pt>
                  <c:pt idx="1">
                    <c:v>February</c:v>
                  </c:pt>
                  <c:pt idx="2">
                    <c:v>March</c:v>
                  </c:pt>
                  <c:pt idx="3">
                    <c:v>April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ust</c:v>
                  </c:pt>
                  <c:pt idx="8">
                    <c:v>September</c:v>
                  </c:pt>
                  <c:pt idx="9">
                    <c:v>October</c:v>
                  </c:pt>
                  <c:pt idx="10">
                    <c:v>November</c:v>
                  </c:pt>
                  <c:pt idx="11">
                    <c:v>December</c:v>
                  </c:pt>
                  <c:pt idx="12">
                    <c:v>January</c:v>
                  </c:pt>
                  <c:pt idx="13">
                    <c:v>February</c:v>
                  </c:pt>
                  <c:pt idx="14">
                    <c:v>March</c:v>
                  </c:pt>
                  <c:pt idx="15">
                    <c:v>April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ust</c:v>
                  </c:pt>
                  <c:pt idx="20">
                    <c:v>September</c:v>
                  </c:pt>
                </c:lvl>
                <c:lvl>
                  <c:pt idx="0">
                    <c:v>2022</c:v>
                  </c:pt>
                  <c:pt idx="12">
                    <c:v>2023</c:v>
                  </c:pt>
                </c:lvl>
              </c:multiLvlStrCache>
            </c:multiLvlStrRef>
          </c:cat>
          <c:val>
            <c:numRef>
              <c:f>'test 1'!$I$2:$I$22</c:f>
              <c:numCache>
                <c:formatCode>_("$"* #,##0_);_("$"* \(#,##0\);_("$"* "-"??_);_(@_)</c:formatCode>
                <c:ptCount val="21"/>
                <c:pt idx="0">
                  <c:v>9928</c:v>
                </c:pt>
                <c:pt idx="1">
                  <c:v>9740</c:v>
                </c:pt>
                <c:pt idx="2">
                  <c:v>19251</c:v>
                </c:pt>
                <c:pt idx="3">
                  <c:v>19557</c:v>
                </c:pt>
                <c:pt idx="4">
                  <c:v>15299</c:v>
                </c:pt>
                <c:pt idx="5">
                  <c:v>16779</c:v>
                </c:pt>
                <c:pt idx="6">
                  <c:v>16659</c:v>
                </c:pt>
                <c:pt idx="7">
                  <c:v>15322</c:v>
                </c:pt>
                <c:pt idx="8">
                  <c:v>21689</c:v>
                </c:pt>
                <c:pt idx="9">
                  <c:v>29261</c:v>
                </c:pt>
                <c:pt idx="10">
                  <c:v>29975</c:v>
                </c:pt>
                <c:pt idx="11">
                  <c:v>31557</c:v>
                </c:pt>
                <c:pt idx="12">
                  <c:v>26534</c:v>
                </c:pt>
                <c:pt idx="13">
                  <c:v>24912</c:v>
                </c:pt>
                <c:pt idx="14">
                  <c:v>30938</c:v>
                </c:pt>
                <c:pt idx="15">
                  <c:v>29645</c:v>
                </c:pt>
                <c:pt idx="16">
                  <c:v>33782</c:v>
                </c:pt>
                <c:pt idx="17">
                  <c:v>28479</c:v>
                </c:pt>
                <c:pt idx="18">
                  <c:v>27710</c:v>
                </c:pt>
                <c:pt idx="19">
                  <c:v>20282</c:v>
                </c:pt>
                <c:pt idx="20">
                  <c:v>24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B5F-4923-AAD2-682180915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34208191"/>
        <c:axId val="634208671"/>
      </c:lineChart>
      <c:catAx>
        <c:axId val="6342081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08671"/>
        <c:crosses val="autoZero"/>
        <c:auto val="1"/>
        <c:lblAlgn val="ctr"/>
        <c:lblOffset val="100"/>
        <c:noMultiLvlLbl val="0"/>
      </c:catAx>
      <c:valAx>
        <c:axId val="6342086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2081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58294488620784E-2"/>
          <c:y val="0.10415871804654712"/>
          <c:w val="0.97148341102275848"/>
          <c:h val="0.8222052651659671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E5-4533-AEC4-E464E6124A90}"/>
              </c:ext>
            </c:extLst>
          </c:dPt>
          <c:dPt>
            <c:idx val="4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E5-4533-AEC4-E464E6124A90}"/>
              </c:ext>
            </c:extLst>
          </c:dPt>
          <c:dLbls>
            <c:dLbl>
              <c:idx val="0"/>
              <c:layout>
                <c:manualLayout>
                  <c:x val="0"/>
                  <c:y val="-0.441816100724914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96969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E5-4533-AEC4-E464E6124A90}"/>
                </c:ext>
              </c:extLst>
            </c:dLbl>
            <c:dLbl>
              <c:idx val="4"/>
              <c:layout>
                <c:manualLayout>
                  <c:x val="0"/>
                  <c:y val="-0.28080885158336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96969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E5-4533-AEC4-E464E6124A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37290</c:v>
                </c:pt>
                <c:pt idx="1">
                  <c:v>273442</c:v>
                </c:pt>
                <c:pt idx="2">
                  <c:v>273442</c:v>
                </c:pt>
                <c:pt idx="3">
                  <c:v>327030</c:v>
                </c:pt>
                <c:pt idx="4">
                  <c:v>3270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E5-4533-AEC4-E464E6124A90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6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9E5-4533-AEC4-E464E6124A90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1">
                  <c:v>263848</c:v>
                </c:pt>
                <c:pt idx="2">
                  <c:v>56088</c:v>
                </c:pt>
                <c:pt idx="3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E5-4533-AEC4-E464E6124A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0513360"/>
        <c:axId val="1"/>
      </c:barChart>
      <c:catAx>
        <c:axId val="1870513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72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705133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78765247697286"/>
          <c:y val="4.7818791946308725E-2"/>
          <c:w val="0.87826736370425695"/>
          <c:h val="0.9039429530201342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960000"/>
              </a:solidFill>
              <a:prstDash val="solid"/>
            </a:ln>
          </c:spPr>
          <c:marker>
            <c:symbol val="none"/>
          </c:marker>
          <c:val>
            <c:numRef>
              <c:f>Sheet1!$A$1:$U$1</c:f>
              <c:numCache>
                <c:formatCode>General</c:formatCode>
                <c:ptCount val="21"/>
                <c:pt idx="0">
                  <c:v>64880</c:v>
                </c:pt>
                <c:pt idx="1">
                  <c:v>61016</c:v>
                </c:pt>
                <c:pt idx="2">
                  <c:v>62744</c:v>
                </c:pt>
                <c:pt idx="3">
                  <c:v>58136</c:v>
                </c:pt>
                <c:pt idx="4">
                  <c:v>52048</c:v>
                </c:pt>
                <c:pt idx="5">
                  <c:v>55792</c:v>
                </c:pt>
                <c:pt idx="6">
                  <c:v>52088</c:v>
                </c:pt>
                <c:pt idx="7">
                  <c:v>50944</c:v>
                </c:pt>
                <c:pt idx="8">
                  <c:v>39448</c:v>
                </c:pt>
                <c:pt idx="9">
                  <c:v>37704</c:v>
                </c:pt>
                <c:pt idx="10">
                  <c:v>34272</c:v>
                </c:pt>
                <c:pt idx="11">
                  <c:v>32624</c:v>
                </c:pt>
                <c:pt idx="12">
                  <c:v>29328</c:v>
                </c:pt>
                <c:pt idx="13">
                  <c:v>26408</c:v>
                </c:pt>
                <c:pt idx="14">
                  <c:v>29280</c:v>
                </c:pt>
                <c:pt idx="15">
                  <c:v>26952</c:v>
                </c:pt>
                <c:pt idx="16">
                  <c:v>24552</c:v>
                </c:pt>
                <c:pt idx="17">
                  <c:v>22360</c:v>
                </c:pt>
                <c:pt idx="18">
                  <c:v>28296</c:v>
                </c:pt>
                <c:pt idx="19">
                  <c:v>25320</c:v>
                </c:pt>
                <c:pt idx="20">
                  <c:v>20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C7F-4779-8DD1-CBB40BC044A6}"/>
            </c:ext>
          </c:extLst>
        </c:ser>
        <c:ser>
          <c:idx val="1"/>
          <c:order val="1"/>
          <c:spPr>
            <a:ln w="19050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val>
            <c:numRef>
              <c:f>Sheet1!$A$2:$U$2</c:f>
              <c:numCache>
                <c:formatCode>General</c:formatCode>
                <c:ptCount val="21"/>
                <c:pt idx="6">
                  <c:v>1404</c:v>
                </c:pt>
                <c:pt idx="7">
                  <c:v>5268</c:v>
                </c:pt>
                <c:pt idx="8">
                  <c:v>6792</c:v>
                </c:pt>
                <c:pt idx="9">
                  <c:v>8166</c:v>
                </c:pt>
                <c:pt idx="10">
                  <c:v>7470</c:v>
                </c:pt>
                <c:pt idx="11">
                  <c:v>9096</c:v>
                </c:pt>
                <c:pt idx="12">
                  <c:v>9762</c:v>
                </c:pt>
                <c:pt idx="13">
                  <c:v>10128</c:v>
                </c:pt>
                <c:pt idx="14">
                  <c:v>9186</c:v>
                </c:pt>
                <c:pt idx="15">
                  <c:v>7080</c:v>
                </c:pt>
                <c:pt idx="16">
                  <c:v>6606</c:v>
                </c:pt>
                <c:pt idx="17">
                  <c:v>8412</c:v>
                </c:pt>
                <c:pt idx="18">
                  <c:v>5586</c:v>
                </c:pt>
                <c:pt idx="19">
                  <c:v>6780</c:v>
                </c:pt>
                <c:pt idx="20">
                  <c:v>6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7F-4779-8DD1-CBB40BC044A6}"/>
            </c:ext>
          </c:extLst>
        </c:ser>
        <c:ser>
          <c:idx val="2"/>
          <c:order val="2"/>
          <c:spPr>
            <a:ln w="19050" cmpd="sng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val>
            <c:numRef>
              <c:f>Sheet1!$A$3:$U$3</c:f>
              <c:numCache>
                <c:formatCode>General</c:formatCode>
                <c:ptCount val="21"/>
                <c:pt idx="0">
                  <c:v>4140</c:v>
                </c:pt>
                <c:pt idx="1">
                  <c:v>3660</c:v>
                </c:pt>
                <c:pt idx="2">
                  <c:v>3120</c:v>
                </c:pt>
                <c:pt idx="3">
                  <c:v>3785</c:v>
                </c:pt>
                <c:pt idx="4">
                  <c:v>3555</c:v>
                </c:pt>
                <c:pt idx="5">
                  <c:v>2610</c:v>
                </c:pt>
                <c:pt idx="6">
                  <c:v>2330</c:v>
                </c:pt>
                <c:pt idx="7">
                  <c:v>1740</c:v>
                </c:pt>
                <c:pt idx="8">
                  <c:v>1790</c:v>
                </c:pt>
                <c:pt idx="9">
                  <c:v>2805</c:v>
                </c:pt>
                <c:pt idx="10">
                  <c:v>1940</c:v>
                </c:pt>
                <c:pt idx="11">
                  <c:v>3040</c:v>
                </c:pt>
                <c:pt idx="12">
                  <c:v>2630</c:v>
                </c:pt>
                <c:pt idx="13">
                  <c:v>2710</c:v>
                </c:pt>
                <c:pt idx="14">
                  <c:v>2715</c:v>
                </c:pt>
                <c:pt idx="15">
                  <c:v>2675</c:v>
                </c:pt>
                <c:pt idx="16">
                  <c:v>2980</c:v>
                </c:pt>
                <c:pt idx="17">
                  <c:v>2420</c:v>
                </c:pt>
                <c:pt idx="18">
                  <c:v>3085</c:v>
                </c:pt>
                <c:pt idx="19">
                  <c:v>2585</c:v>
                </c:pt>
                <c:pt idx="20">
                  <c:v>24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C7F-4779-8DD1-CBB40BC044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70522000"/>
        <c:axId val="1"/>
      </c:lineChart>
      <c:catAx>
        <c:axId val="18705220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0522000"/>
        <c:crosses val="min"/>
        <c:crossBetween val="midCat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841</cdr:x>
      <cdr:y>0.03799</cdr:y>
    </cdr:from>
    <cdr:to>
      <cdr:x>0.38555</cdr:x>
      <cdr:y>0.03799</cdr:y>
    </cdr:to>
    <cdr:cxnSp macro="">
      <cdr:nvCxnSpPr>
        <cdr:cNvPr id="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7E3C98D4-0849-FB4F-F5A7-CC254E6FB2DE}"/>
            </a:ext>
          </a:extLst>
        </cdr:cNvPr>
        <cdr:cNvCxnSpPr/>
      </cdr:nvCxnSpPr>
      <cdr:spPr>
        <a:xfrm xmlns:a="http://schemas.openxmlformats.org/drawingml/2006/main">
          <a:off x="3282129" y="201258"/>
          <a:ext cx="457200" cy="0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bg1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8018</cdr:x>
      <cdr:y>0.01162</cdr:y>
    </cdr:from>
    <cdr:to>
      <cdr:x>0.55731</cdr:x>
      <cdr:y>0.0562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FDF9AA57-6691-DD13-06F0-E296FC410A47}"/>
            </a:ext>
          </a:extLst>
        </cdr:cNvPr>
        <cdr:cNvSpPr txBox="1"/>
      </cdr:nvSpPr>
      <cdr:spPr>
        <a:xfrm xmlns:a="http://schemas.openxmlformats.org/drawingml/2006/main">
          <a:off x="3489139" y="61558"/>
          <a:ext cx="1625599" cy="2362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000" kern="1200" dirty="0">
              <a:solidFill>
                <a:schemeClr val="tx1">
                  <a:lumMod val="65000"/>
                  <a:lumOff val="35000"/>
                </a:schemeClr>
              </a:solidFill>
            </a:rPr>
            <a:t>Revenue</a:t>
          </a:r>
          <a:r>
            <a:rPr lang="en-US" sz="1100" kern="1200" dirty="0"/>
            <a:t>                                   </a:t>
          </a:r>
          <a:r>
            <a:rPr lang="en-US" sz="1000" kern="1200" dirty="0">
              <a:solidFill>
                <a:schemeClr val="tx1">
                  <a:lumMod val="65000"/>
                  <a:lumOff val="35000"/>
                </a:schemeClr>
              </a:solidFill>
            </a:rPr>
            <a:t>Cost</a:t>
          </a:r>
        </a:p>
      </cdr:txBody>
    </cdr:sp>
  </cdr:relSizeAnchor>
  <cdr:relSizeAnchor xmlns:cdr="http://schemas.openxmlformats.org/drawingml/2006/chartDrawing">
    <cdr:from>
      <cdr:x>0.47067</cdr:x>
      <cdr:y>0.03847</cdr:y>
    </cdr:from>
    <cdr:to>
      <cdr:x>0.51781</cdr:x>
      <cdr:y>0.03847</cdr:y>
    </cdr:to>
    <cdr:cxnSp macro="">
      <cdr:nvCxnSpPr>
        <cdr:cNvPr id="10" name="Straight Connector 9">
          <a:extLst xmlns:a="http://schemas.openxmlformats.org/drawingml/2006/main">
            <a:ext uri="{FF2B5EF4-FFF2-40B4-BE49-F238E27FC236}">
              <a16:creationId xmlns:a16="http://schemas.microsoft.com/office/drawing/2014/main" id="{AA1EB6C8-4658-4DF5-A34F-182215CC424B}"/>
            </a:ext>
          </a:extLst>
        </cdr:cNvPr>
        <cdr:cNvCxnSpPr/>
      </cdr:nvCxnSpPr>
      <cdr:spPr>
        <a:xfrm xmlns:a="http://schemas.openxmlformats.org/drawingml/2006/main">
          <a:off x="4564903" y="203798"/>
          <a:ext cx="45720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1CCCF2-444F-4640-B50E-A2B16F1ABF5E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9AE3D-7FB0-49FC-92EB-142E75CD3F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499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C1B59-966D-9596-7530-9EA459F66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C09A48-7491-6627-18FF-887AE04E0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2954F4-3220-BB6E-A621-972D0192E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ABFAE-9C4A-BDE5-2148-AE9641FF3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976CBF-1DD8-F323-9821-DE7251AA3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767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AEB31-8574-6A66-95A3-C0A61F82C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1131B4-E8F1-CF8B-EE74-E634CE289D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B03DDB-7825-1843-C041-53644CA4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057DDA-0BFD-8B83-D461-B3D88BA4D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23DCB-45EA-83B3-26C4-CEBA6007E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206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8BFB2E2-CF4D-AA76-89F1-D4202F439C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9A4EC5-0CD1-4E23-3DFA-A48BBAEB20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14E006-D459-0482-32E9-10F294AAC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85142B-34A1-00AB-498A-00F206D70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83D72A-45DF-9F97-C474-888495EC9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207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9D30D-906C-390F-07CE-633F525A3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7A66B9-49CD-6319-B008-6B2656BD26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453A9D-D593-2BFD-2414-7C6619C97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07B21-FA00-85F9-F123-A478CE227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708DAF-D5F5-7753-841F-B0E508DCE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293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EBC87-C259-ADCD-EACA-B311671BA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7AE7BD-52E6-B9E8-844E-DF29F4904B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A70B9-7727-126D-6603-E1113086F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A2076-F288-51AB-8590-AC7165B90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109860-58A1-D815-AA4F-220DB4DF7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671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2D5E2-06B2-56F0-FB8C-372052D8C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377D2-69AA-53A3-1916-AB9960A6D1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0E524A-D8AF-F645-C7C9-452584176D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F92E6E-3810-AC18-3FCD-A363EAB8B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553F7F-B484-E279-C97C-D96FACE95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BB7420-B39F-84F9-2A94-0A9DDF123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47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573EF-FD46-38A9-0CAD-31DDF99D7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9DF1E-1FF1-2ECC-3830-0D0A611913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E528CD-358E-C1D9-3FDC-E5711E9A04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67934-8549-4069-503A-F037B9AF2C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A60C70-9867-1473-9752-C23D5C7458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E25EB0-947E-3987-58F1-2356BEF9B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C94A02-88D0-E4F1-CCE3-EF94A817A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8887E4-9F1A-834B-0C0D-3BB5FD4A7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106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0CD48-6AA8-F660-4D2B-8104D456E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EF1F93-3722-FFD9-E0B6-246184868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321106-C005-01E1-EC2C-C6C056D5E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C6F95B-0C52-8376-EFED-7D5F74115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107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F40549-6316-EC12-527A-342A966A7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C5A2C7-64DB-F91B-6559-1C9296A4A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8E576B-25E9-DCBB-5801-5AC643E69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014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64C68-0536-9649-C88C-4B5FF9E5F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A1437-2561-6836-44E4-A86D300C39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EDDDD7-608C-1872-B942-9868CA8C32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198E00-6715-F079-3A99-46F93ACD9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7DEB87-12B8-4224-0FB6-C727DB9C1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BB8B2F-2222-D009-72A5-693F1D6A4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87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1EC4E-F7DC-5C70-3491-80C8CB9A4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916D08-0144-E3D7-9F08-28DF083CB9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CDACD-68A3-134D-84A1-EB7DE6AB33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125D7F-9B8C-A7A3-FFBF-9858686CB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821594-D048-5B76-346E-285939169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F6FC52-2527-56E9-E9FC-33F813209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281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5F074C-2976-B993-6AB5-16F0AD1E3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83694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78" imgH="377" progId="TCLayout.ActiveDocument.1">
                  <p:embed/>
                </p:oleObj>
              </mc:Choice>
              <mc:Fallback>
                <p:oleObj name="think-cell Slide" r:id="rId14" imgW="378" imgH="37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5F074C-2976-B993-6AB5-16F0AD1E3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3BF5B6-F11C-C29D-7229-4B14EC5B0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F27ABE-1966-0CB9-646E-3B15B8733C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13D18E-CC9E-4FA5-ABC7-1B7C612F4205}" type="datetimeFigureOut">
              <a:rPr lang="en-US" smtClean="0"/>
              <a:t>12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DDB6BD-C3DD-1B5C-00E3-69BB95B58C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6A72E6-836C-37CE-019A-21B9743FB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81590F-7805-4D25-BFCF-D416834429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1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chart" Target="../charts/chart6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9" Type="http://schemas.openxmlformats.org/officeDocument/2006/relationships/tags" Target="../tags/tag40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image" Target="../media/image1.emf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oleObject" Target="../embeddings/oleObject6.bin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slideLayout" Target="../slideLayouts/slideLayout1.xml"/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chart" Target="../charts/chart5.xml"/><Relationship Id="rId20" Type="http://schemas.openxmlformats.org/officeDocument/2006/relationships/tags" Target="../tags/tag31.xml"/><Relationship Id="rId41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4AA45-7BE9-9FE3-8DE8-C7C7F20948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FC63818-98B7-5AA4-C778-8D0173EE9E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165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C63818-98B7-5AA4-C778-8D0173EE9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3C82F65-65F4-84E8-306C-38D71AE2C6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9784833"/>
              </p:ext>
            </p:extLst>
          </p:nvPr>
        </p:nvGraphicFramePr>
        <p:xfrm>
          <a:off x="281268" y="1662112"/>
          <a:ext cx="8459508" cy="4937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80988" y="0"/>
            <a:ext cx="8459788" cy="129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280988" rIns="0" bIns="28098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>
                <a:latin typeface="Arial Rounded MT Bold" panose="020F0704030504030204" pitchFamily="34" charset="0"/>
              </a:rPr>
              <a:t>2023 Forecasted to Surpass 2022 Total Profit with a Significant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  <a:latin typeface="Arial Rounded MT Bold" panose="020F0704030504030204" pitchFamily="34" charset="0"/>
              </a:rPr>
              <a:t>16% Growth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050339" y="1803400"/>
            <a:ext cx="2917825" cy="477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2022, the company experienced a strong close, achieving a massive profit spike in December of over $240K. This brought the annual profit to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$2.189M,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king a highly profitable year overall.</a:t>
            </a:r>
          </a:p>
          <a:p>
            <a:pPr marL="0" indent="0"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wever, 2023 began with a lower-than-expected profit of just over $200K in January, reflecting the anticipated market seasonality trends. After a slight downturn, the market peaked in March with $231K in profit. This brought the Q1 total to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$625K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showcasing a notable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4.5%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rease compared to Q1 2022.</a:t>
            </a:r>
          </a:p>
          <a:p>
            <a:pPr marL="0" indent="0"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id-year, the market faced a steep decline, with August seeing the largest dip. By September 2023, total profits had reached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$1.824M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—already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3%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 2022's full-year total, despite the challenges and volatility experienced earlier.</a:t>
            </a:r>
          </a:p>
          <a:p>
            <a:pPr marL="0" indent="0" algn="just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oking ahead, Q4 is forecasted to see steady growth, culminating in a peak profit in December. By year-end, the total profit is expected to reach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$2.532M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—representing a remarkable 16% growth over 2022’s closing profit, highlighting the company's resilience and strategic adaptation to market trends.</a:t>
            </a:r>
          </a:p>
          <a:p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400800" y="2095501"/>
            <a:ext cx="1871663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8738" rIns="0" bIns="587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rgbClr val="969696"/>
                </a:solidFill>
              </a:rPr>
              <a:t>2023 Forecasted period</a:t>
            </a:r>
          </a:p>
        </p:txBody>
      </p:sp>
    </p:spTree>
    <p:extLst>
      <p:ext uri="{BB962C8B-B14F-4D97-AF65-F5344CB8AC3E}">
        <p14:creationId xmlns:p14="http://schemas.microsoft.com/office/powerpoint/2010/main" val="2961711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77B9F4-A732-9322-D21D-87DBBCE92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85D04A7-FD2C-BE67-95AA-1CF264DD90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31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5D04A7-FD2C-BE67-95AA-1CF264DD9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A33B2507-380A-D766-87F3-3F367A216A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4977486"/>
              </p:ext>
            </p:extLst>
          </p:nvPr>
        </p:nvGraphicFramePr>
        <p:xfrm>
          <a:off x="595533" y="2675963"/>
          <a:ext cx="11001156" cy="4084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95314" y="0"/>
            <a:ext cx="11001375" cy="860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92075" rIns="317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>
                <a:latin typeface="Arial Rounded MT Bold" panose="020F0704030504030204" pitchFamily="34" charset="0"/>
                <a:sym typeface="Arial Rounded MT Bold" panose="020F0704030504030204" pitchFamily="34" charset="0"/>
              </a:rPr>
              <a:t>Despite 16% Overall Increase, Product Categories Show Uneven Contribution, with Some Experiencing </a:t>
            </a:r>
            <a:r>
              <a:rPr lang="en-US" dirty="0">
                <a:solidFill>
                  <a:srgbClr val="960000"/>
                </a:solidFill>
                <a:latin typeface="Arial Rounded MT Bold" panose="020F0704030504030204" pitchFamily="34" charset="0"/>
                <a:sym typeface="Arial Rounded MT Bold" panose="020F0704030504030204" pitchFamily="34" charset="0"/>
              </a:rPr>
              <a:t>Dec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3C028A1-959E-B628-8999-D7D603F9848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95313" y="950913"/>
            <a:ext cx="9588500" cy="137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ile three of the five product categories maintain relatively balanced movements along the profit line, two categories deviate significantly from this trend.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ts &amp; Crafts experienced a dramatic spike, climbing from a total profit of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$15,448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September 2022 to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$57,443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y December 2022—a remarkable 300% increase in Q4. Following this surge, the category stabilized, with profits fluctuating around this higher level.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contrast, the Electronics category has shown a steady decline. Once the most profitable category in January 2022, generating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$69,200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1%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f Maven Toys' profit for that month), it has since dropped to just over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$29,194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—a steep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2%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crease.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ese contrasting trends significantly influence total profit dynamics, highlighting the need for targeted attention to both categories.</a:t>
            </a:r>
          </a:p>
          <a:p>
            <a:pPr marL="0" lvl="0" indent="0">
              <a:spcBef>
                <a:spcPts val="40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lvl="0" indent="0">
              <a:spcBef>
                <a:spcPts val="40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lvl="0" indent="0">
              <a:spcBef>
                <a:spcPts val="40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7592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8FA19E-036B-3B62-E0E6-89824A0956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246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D6ABFCF6-36BE-808E-E1E8-93D48FCDC3AC}"/>
              </a:ext>
            </a:extLst>
          </p:cNvPr>
          <p:cNvSpPr txBox="1"/>
          <p:nvPr/>
        </p:nvSpPr>
        <p:spPr>
          <a:xfrm>
            <a:off x="346261" y="0"/>
            <a:ext cx="726477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latin typeface="Arial Rounded MT Bold" panose="020F0704030504030204" pitchFamily="34" charset="0"/>
              </a:rPr>
              <a:t>Cost Trends Mirror Revenue Patterns for </a:t>
            </a:r>
            <a:r>
              <a:rPr lang="en-US" sz="28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Art &amp; Crafts </a:t>
            </a:r>
            <a:r>
              <a:rPr lang="en-US" sz="2800" dirty="0">
                <a:latin typeface="Arial Rounded MT Bold" panose="020F0704030504030204" pitchFamily="34" charset="0"/>
              </a:rPr>
              <a:t>and </a:t>
            </a:r>
            <a:r>
              <a:rPr lang="en-US" sz="2800" dirty="0">
                <a:solidFill>
                  <a:srgbClr val="960000"/>
                </a:solidFill>
                <a:latin typeface="Arial Rounded MT Bold" panose="020F0704030504030204" pitchFamily="34" charset="0"/>
              </a:rPr>
              <a:t>Electronics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9FFAD9C2-FDD3-6DCA-4CB7-689C186CFB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2168192"/>
              </p:ext>
            </p:extLst>
          </p:nvPr>
        </p:nvGraphicFramePr>
        <p:xfrm>
          <a:off x="346261" y="1847405"/>
          <a:ext cx="10733650" cy="4445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82FEBA3-C072-E72C-E877-F0D01B0DB35F}"/>
              </a:ext>
            </a:extLst>
          </p:cNvPr>
          <p:cNvSpPr txBox="1"/>
          <p:nvPr/>
        </p:nvSpPr>
        <p:spPr>
          <a:xfrm>
            <a:off x="346261" y="954107"/>
            <a:ext cx="72647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s in Arts &amp; Crafts and Electronics closely follow revenue trends, with Arts &amp; Crafts showing scalable efficiency and Electronics highlighting potential inefficiencies.</a:t>
            </a:r>
          </a:p>
        </p:txBody>
      </p:sp>
    </p:spTree>
    <p:extLst>
      <p:ext uri="{BB962C8B-B14F-4D97-AF65-F5344CB8AC3E}">
        <p14:creationId xmlns:p14="http://schemas.microsoft.com/office/powerpoint/2010/main" val="1639198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330B37-B808-44F1-45DB-2DCD57A4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7863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0" name="Table 169">
            <a:extLst>
              <a:ext uri="{FF2B5EF4-FFF2-40B4-BE49-F238E27FC236}">
                <a16:creationId xmlns:a16="http://schemas.microsoft.com/office/drawing/2014/main" id="{19B270EB-B093-716A-142E-B38F3D6A55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845190"/>
              </p:ext>
            </p:extLst>
          </p:nvPr>
        </p:nvGraphicFramePr>
        <p:xfrm>
          <a:off x="194820" y="1832443"/>
          <a:ext cx="6629397" cy="3615144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604676">
                  <a:extLst>
                    <a:ext uri="{9D8B030D-6E8A-4147-A177-3AD203B41FA5}">
                      <a16:colId xmlns:a16="http://schemas.microsoft.com/office/drawing/2014/main" val="937194273"/>
                    </a:ext>
                  </a:extLst>
                </a:gridCol>
                <a:gridCol w="1020392">
                  <a:extLst>
                    <a:ext uri="{9D8B030D-6E8A-4147-A177-3AD203B41FA5}">
                      <a16:colId xmlns:a16="http://schemas.microsoft.com/office/drawing/2014/main" val="415838159"/>
                    </a:ext>
                  </a:extLst>
                </a:gridCol>
                <a:gridCol w="604676">
                  <a:extLst>
                    <a:ext uri="{9D8B030D-6E8A-4147-A177-3AD203B41FA5}">
                      <a16:colId xmlns:a16="http://schemas.microsoft.com/office/drawing/2014/main" val="3631954509"/>
                    </a:ext>
                  </a:extLst>
                </a:gridCol>
                <a:gridCol w="604676">
                  <a:extLst>
                    <a:ext uri="{9D8B030D-6E8A-4147-A177-3AD203B41FA5}">
                      <a16:colId xmlns:a16="http://schemas.microsoft.com/office/drawing/2014/main" val="451926741"/>
                    </a:ext>
                  </a:extLst>
                </a:gridCol>
                <a:gridCol w="569178">
                  <a:extLst>
                    <a:ext uri="{9D8B030D-6E8A-4147-A177-3AD203B41FA5}">
                      <a16:colId xmlns:a16="http://schemas.microsoft.com/office/drawing/2014/main" val="302526863"/>
                    </a:ext>
                  </a:extLst>
                </a:gridCol>
                <a:gridCol w="980305">
                  <a:extLst>
                    <a:ext uri="{9D8B030D-6E8A-4147-A177-3AD203B41FA5}">
                      <a16:colId xmlns:a16="http://schemas.microsoft.com/office/drawing/2014/main" val="283505179"/>
                    </a:ext>
                  </a:extLst>
                </a:gridCol>
                <a:gridCol w="844029">
                  <a:extLst>
                    <a:ext uri="{9D8B030D-6E8A-4147-A177-3AD203B41FA5}">
                      <a16:colId xmlns:a16="http://schemas.microsoft.com/office/drawing/2014/main" val="3061181343"/>
                    </a:ext>
                  </a:extLst>
                </a:gridCol>
                <a:gridCol w="730651">
                  <a:extLst>
                    <a:ext uri="{9D8B030D-6E8A-4147-A177-3AD203B41FA5}">
                      <a16:colId xmlns:a16="http://schemas.microsoft.com/office/drawing/2014/main" val="1326699382"/>
                    </a:ext>
                  </a:extLst>
                </a:gridCol>
                <a:gridCol w="670814">
                  <a:extLst>
                    <a:ext uri="{9D8B030D-6E8A-4147-A177-3AD203B41FA5}">
                      <a16:colId xmlns:a16="http://schemas.microsoft.com/office/drawing/2014/main" val="2288611262"/>
                    </a:ext>
                  </a:extLst>
                </a:gridCol>
              </a:tblGrid>
              <a:tr h="269831"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Kids Makeup Ki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PlayDoh Toolki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PlayDoh Ca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PlayDoh Playse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Barrel O' Slim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Etch A Sketch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Magic San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Play foam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088798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2022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698594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anuar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68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64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45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59508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Februar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99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37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2,33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548278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March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1,12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07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097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857077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Apri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4,34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441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464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616827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Ma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3,01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86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347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33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08531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u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,68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591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43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2,06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483460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ul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73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583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12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17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0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0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396300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Augus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59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368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00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2,41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938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471122"/>
                  </a:ext>
                </a:extLst>
              </a:tr>
              <a:tr h="14073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Septemb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95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131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484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62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,49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0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00500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Octob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54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48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059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560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,148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9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72645"/>
                  </a:ext>
                </a:extLst>
              </a:tr>
              <a:tr h="14073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Novemb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86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1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883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10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7,31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,57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2,36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862309"/>
                  </a:ext>
                </a:extLst>
              </a:tr>
              <a:tr h="14073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Decemb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42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3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497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26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7,74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,840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,22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844201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2023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4113414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anuar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27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07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519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51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,51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1,70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46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656464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Februar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39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31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3,887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1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6,38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14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44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48871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March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47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1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65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16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20,12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0,070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21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569232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Apri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48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9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73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9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6,03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1,38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,40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929968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Ma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75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079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67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42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71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40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4,43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34768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u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46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042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561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36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3,05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,14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2,88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156396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Jul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278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034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15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48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0,76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5,48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1,61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109190"/>
                  </a:ext>
                </a:extLst>
              </a:tr>
              <a:tr h="13862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Augus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4,74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017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939.00</a:t>
                      </a:r>
                      <a:endParaRPr lang="en-US" sz="9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19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38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6,96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,184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,177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294911"/>
                  </a:ext>
                </a:extLst>
              </a:tr>
              <a:tr h="14073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Septemb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08" marR="7756" marT="7756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748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84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5,825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,152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0,50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7,000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9,046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$19,929.00</a:t>
                      </a:r>
                      <a:endParaRPr lang="en-US" sz="9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6" marR="7756" marT="7756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117680"/>
                  </a:ext>
                </a:extLst>
              </a:tr>
            </a:tbl>
          </a:graphicData>
        </a:graphic>
      </p:graphicFrame>
      <p:sp>
        <p:nvSpPr>
          <p:cNvPr id="173" name="Rectangle 172">
            <a:extLst>
              <a:ext uri="{FF2B5EF4-FFF2-40B4-BE49-F238E27FC236}">
                <a16:creationId xmlns:a16="http://schemas.microsoft.com/office/drawing/2014/main" id="{4A716A27-52DB-C1E0-363F-69693EC2CFED}"/>
              </a:ext>
            </a:extLst>
          </p:cNvPr>
          <p:cNvSpPr/>
          <p:nvPr/>
        </p:nvSpPr>
        <p:spPr>
          <a:xfrm>
            <a:off x="1742951" y="1489815"/>
            <a:ext cx="953768" cy="2295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943493F-97D4-0C7C-5905-22ED2DD77B4E}"/>
              </a:ext>
            </a:extLst>
          </p:cNvPr>
          <p:cNvSpPr txBox="1"/>
          <p:nvPr/>
        </p:nvSpPr>
        <p:spPr>
          <a:xfrm>
            <a:off x="133418" y="1432333"/>
            <a:ext cx="26633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ptos Display" panose="020B0004020202020204" pitchFamily="34" charset="0"/>
              </a:rPr>
              <a:t>Role of zero Profit: Focus Area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1B446BE-2C1C-4BEF-EE7D-7E7DE0595E3E}"/>
              </a:ext>
            </a:extLst>
          </p:cNvPr>
          <p:cNvGrpSpPr/>
          <p:nvPr/>
        </p:nvGrpSpPr>
        <p:grpSpPr>
          <a:xfrm>
            <a:off x="4563619" y="1235899"/>
            <a:ext cx="2260598" cy="596544"/>
            <a:chOff x="4572000" y="2385417"/>
            <a:chExt cx="2260598" cy="596544"/>
          </a:xfrm>
        </p:grpSpPr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0CA32590-FA34-DB5B-2BD3-675633598283}"/>
                </a:ext>
              </a:extLst>
            </p:cNvPr>
            <p:cNvCxnSpPr/>
            <p:nvPr/>
          </p:nvCxnSpPr>
          <p:spPr>
            <a:xfrm>
              <a:off x="4579620" y="2642508"/>
              <a:ext cx="0" cy="339453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22DC63C1-2DAD-4FCF-AD94-30F8EA4A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817358" y="2642508"/>
              <a:ext cx="0" cy="339453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554E8EE2-599F-DCE8-12D4-9D1DA18CED9F}"/>
                </a:ext>
              </a:extLst>
            </p:cNvPr>
            <p:cNvCxnSpPr/>
            <p:nvPr/>
          </p:nvCxnSpPr>
          <p:spPr>
            <a:xfrm>
              <a:off x="4572000" y="2642508"/>
              <a:ext cx="2260598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14E3A859-5614-8BF6-89F8-F7AAC665597A}"/>
                </a:ext>
              </a:extLst>
            </p:cNvPr>
            <p:cNvSpPr txBox="1"/>
            <p:nvPr/>
          </p:nvSpPr>
          <p:spPr>
            <a:xfrm>
              <a:off x="5093997" y="2385417"/>
              <a:ext cx="958917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ptos Display" panose="020B0004020202020204" pitchFamily="34" charset="0"/>
                </a:rPr>
                <a:t>New Products</a:t>
              </a: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3C28B6A2-A0F7-F830-EFEC-4C9D75B67CE7}"/>
              </a:ext>
            </a:extLst>
          </p:cNvPr>
          <p:cNvSpPr txBox="1"/>
          <p:nvPr/>
        </p:nvSpPr>
        <p:spPr>
          <a:xfrm>
            <a:off x="7604000" y="1432333"/>
            <a:ext cx="3446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ptos Display" panose="020B0004020202020204" pitchFamily="34" charset="0"/>
              </a:rPr>
              <a:t>Total profit increase due to new product</a:t>
            </a:r>
          </a:p>
        </p:txBody>
      </p:sp>
      <p:graphicFrame>
        <p:nvGraphicFramePr>
          <p:cNvPr id="192" name="Chart 191">
            <a:extLst>
              <a:ext uri="{FF2B5EF4-FFF2-40B4-BE49-F238E27FC236}">
                <a16:creationId xmlns:a16="http://schemas.microsoft.com/office/drawing/2014/main" id="{ED97582A-462E-DAA5-6185-C0DE7F94F5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5369358"/>
              </p:ext>
            </p:extLst>
          </p:nvPr>
        </p:nvGraphicFramePr>
        <p:xfrm>
          <a:off x="6884543" y="1801665"/>
          <a:ext cx="5095875" cy="3615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3" name="TextBox 192">
            <a:extLst>
              <a:ext uri="{FF2B5EF4-FFF2-40B4-BE49-F238E27FC236}">
                <a16:creationId xmlns:a16="http://schemas.microsoft.com/office/drawing/2014/main" id="{181E26C8-FBDA-485D-5E75-B2064B5B69E4}"/>
              </a:ext>
            </a:extLst>
          </p:cNvPr>
          <p:cNvSpPr txBox="1"/>
          <p:nvPr/>
        </p:nvSpPr>
        <p:spPr>
          <a:xfrm>
            <a:off x="73319" y="648399"/>
            <a:ext cx="68112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product launches in the Arts &amp; Crafts category have led to a remarkable 300% </a:t>
            </a:r>
          </a:p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t surge in Q4 2022, setting the foundation for sustained growth in 2023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C44466-9ADE-C001-8120-EA5EACD16674}"/>
              </a:ext>
            </a:extLst>
          </p:cNvPr>
          <p:cNvSpPr txBox="1"/>
          <p:nvPr/>
        </p:nvSpPr>
        <p:spPr>
          <a:xfrm>
            <a:off x="133417" y="6027393"/>
            <a:ext cx="12058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ew products in Arts &amp; Crafts accounted for </a:t>
            </a:r>
            <a:r>
              <a:rPr lang="en-US" sz="1400" b="1" dirty="0"/>
              <a:t>65% of total profit growth</a:t>
            </a:r>
            <a:r>
              <a:rPr lang="en-US" sz="1400" dirty="0"/>
              <a:t> in Q4 2022. going from September 2022 Profit </a:t>
            </a:r>
            <a:r>
              <a:rPr lang="en-US" sz="1400" b="1" dirty="0"/>
              <a:t>of </a:t>
            </a:r>
            <a:r>
              <a:rPr lang="en-US" sz="1400" dirty="0"/>
              <a:t> </a:t>
            </a:r>
            <a:r>
              <a:rPr lang="en-US" sz="1400" b="1" dirty="0"/>
              <a:t>$15,448 </a:t>
            </a:r>
            <a:r>
              <a:rPr lang="en-US" sz="1400" dirty="0"/>
              <a:t>to  a profit of</a:t>
            </a:r>
            <a:r>
              <a:rPr lang="en-US" sz="1400" b="1" dirty="0"/>
              <a:t> $57,443 </a:t>
            </a:r>
            <a:r>
              <a:rPr lang="en-US" sz="1400" dirty="0"/>
              <a:t>in December 2022 – a </a:t>
            </a:r>
            <a:r>
              <a:rPr lang="en-US" sz="1400" b="1" dirty="0"/>
              <a:t>300% </a:t>
            </a:r>
            <a:r>
              <a:rPr lang="en-US" sz="1400" dirty="0"/>
              <a:t>increase within the quarter. Stabilized profits in 2023, maintaining an average of </a:t>
            </a:r>
            <a:r>
              <a:rPr lang="en-US" sz="1400" b="1" dirty="0"/>
              <a:t>$55,000 </a:t>
            </a:r>
            <a:r>
              <a:rPr lang="en-US" sz="1400" dirty="0"/>
              <a:t>per month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EC5273-229D-F0A6-78A7-2512AE58BBF1}"/>
              </a:ext>
            </a:extLst>
          </p:cNvPr>
          <p:cNvSpPr txBox="1"/>
          <p:nvPr/>
        </p:nvSpPr>
        <p:spPr>
          <a:xfrm>
            <a:off x="58738" y="185838"/>
            <a:ext cx="923949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  <a:latin typeface="Arial Rounded MT Bold" panose="020F0704030504030204" pitchFamily="34" charset="0"/>
              </a:rPr>
              <a:t>Arts &amp; Crafts </a:t>
            </a:r>
            <a:r>
              <a:rPr lang="en-US" sz="2400" dirty="0">
                <a:latin typeface="Arial Rounded MT Bold" panose="020F0704030504030204" pitchFamily="34" charset="0"/>
              </a:rPr>
              <a:t>Profit Surge Driven by New Product Additions</a:t>
            </a:r>
          </a:p>
        </p:txBody>
      </p:sp>
    </p:spTree>
    <p:extLst>
      <p:ext uri="{BB962C8B-B14F-4D97-AF65-F5344CB8AC3E}">
        <p14:creationId xmlns:p14="http://schemas.microsoft.com/office/powerpoint/2010/main" val="3403951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1424856F-BEE5-CB4E-70D0-DA1B8B366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793B412-B2AF-4771-E46A-212D706F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505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78" imgH="377" progId="TCLayout.ActiveDocument.1">
                  <p:embed/>
                </p:oleObj>
              </mc:Choice>
              <mc:Fallback>
                <p:oleObj name="think-cell Slide" r:id="rId44" imgW="378" imgH="37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93B412-B2AF-4771-E46A-212D706F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49266B58-5464-6919-0B4A-72E74FD0D03C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7588" y="2689225"/>
            <a:ext cx="500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CAC28E0-86C8-0CA2-D2B1-7CD2E174405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143125" y="4368800"/>
            <a:ext cx="498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EC408A4-C5B5-E546-4303-ECE80F959C9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267075" y="4011613"/>
            <a:ext cx="500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F5179E7-0CAB-C0A6-4773-33633675098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392613" y="4027488"/>
            <a:ext cx="498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7" name="Chart 676">
            <a:extLst>
              <a:ext uri="{FF2B5EF4-FFF2-40B4-BE49-F238E27FC236}">
                <a16:creationId xmlns:a16="http://schemas.microsoft.com/office/drawing/2014/main" id="{39152DEE-EDEB-E954-17E8-563AE907E8A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24602975"/>
              </p:ext>
            </p:extLst>
          </p:nvPr>
        </p:nvGraphicFramePr>
        <p:xfrm>
          <a:off x="60325" y="2255838"/>
          <a:ext cx="5789613" cy="4160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97FB6490-15CA-0D07-49E6-4A3F93FDF5D6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04850" y="2160588"/>
            <a:ext cx="4498975" cy="1338263"/>
          </a:xfrm>
          <a:prstGeom prst="line">
            <a:avLst/>
          </a:prstGeom>
          <a:ln w="2857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7525" y="616902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A97C02-C7E1-4322-BA85-6A339C65FEF4}" type="datetime'''''''''''''2''''''''''''''''''''''''''0''''''''22'''''">
              <a:rPr lang="en-US" altLang="en-US" sz="1400" smtClean="0">
                <a:solidFill>
                  <a:srgbClr val="808080"/>
                </a:solidFill>
              </a:rPr>
              <a:pPr/>
              <a:t>2022</a:t>
            </a:fld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84313" y="3433763"/>
            <a:ext cx="692150" cy="192088"/>
          </a:xfrm>
          <a:prstGeom prst="rect">
            <a:avLst/>
          </a:prstGeom>
          <a:solidFill>
            <a:srgbClr val="960000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961363-C35E-4B93-823D-BB3AE5EA1F8A}" type="datetime'-''''26''''''''''3'''''''',''''''''8''''48'''''">
              <a:rPr lang="en-US" altLang="en-US" sz="1400" smtClean="0">
                <a:solidFill>
                  <a:srgbClr val="FFFFFF"/>
                </a:solidFill>
              </a:rPr>
              <a:pPr/>
              <a:t>-263,848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449388" y="6169025"/>
            <a:ext cx="762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4C8B1A-8764-48FB-9B5B-993C1C3E57F6}" type="datetime'''Colo''''''r''''''''b''''u''''''''''''''''''''''d''s'''''''''">
              <a:rPr lang="en-US" altLang="en-US" sz="1400" b="1" smtClean="0">
                <a:solidFill>
                  <a:srgbClr val="000000"/>
                </a:solidFill>
              </a:rPr>
              <a:pPr/>
              <a:t>Colorbuds</a:t>
            </a:fld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92375" y="6169025"/>
            <a:ext cx="9255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09739A-4C4D-41E9-A230-88AA43372BE5}" type="datetime'''''''G''''''''''''am''er H''''''ead''phon''e''s'''''''''''">
              <a:rPr lang="en-US" altLang="en-US" sz="1400" smtClean="0">
                <a:solidFill>
                  <a:srgbClr val="808080"/>
                </a:solidFill>
              </a:rPr>
              <a:pPr/>
              <a:t>Gamer Headphones</a:t>
            </a:fld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31F1C099-70B3-F12A-F472-07FC4244FAA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679825" y="6169025"/>
            <a:ext cx="801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A0CD63-D180-42A7-92F1-136AC75EF560}" type="datetime'''''''T''''oy ''''''''''''R''''''''''o''''''''''bo''ts'''">
              <a:rPr lang="en-US" altLang="en-US" sz="1400" smtClean="0">
                <a:solidFill>
                  <a:srgbClr val="808080"/>
                </a:solidFill>
              </a:rPr>
              <a:pPr/>
              <a:t>Toy Robots</a:t>
            </a:fld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5F0B3CA6-0FDA-1D93-644F-8C444224092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16500" y="6169025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7BCE69-9E9E-41B0-A96B-60028035FB0F}" type="datetime'''''''''''2''0''''''''''''''''''''''''''''''''''''23'''">
              <a:rPr lang="en-US" altLang="en-US" sz="1400" smtClean="0">
                <a:solidFill>
                  <a:srgbClr val="808080"/>
                </a:solidFill>
              </a:rPr>
              <a:pPr/>
              <a:t>2023</a:t>
            </a:fld>
            <a:endParaRPr lang="en-US" sz="1400" dirty="0">
              <a:solidFill>
                <a:srgbClr val="808080"/>
              </a:solidFill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695575" y="2692400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C30C3E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C15B5F-0141-4A56-AF3F-16DD7B673CC0}" type="datetime'-''''''3''''''''''''''9''''''''''''''''''''''''%'''''''''''">
              <a:rPr lang="en-US" altLang="en-US" sz="1400" b="1" smtClean="0">
                <a:solidFill>
                  <a:srgbClr val="000000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9%</a:t>
            </a:fld>
            <a:endParaRPr lang="en-US" sz="1400" b="1" dirty="0">
              <a:solidFill>
                <a:srgbClr val="000000"/>
              </a:solidFill>
            </a:endParaRPr>
          </a:p>
        </p:txBody>
      </p:sp>
      <p:graphicFrame>
        <p:nvGraphicFramePr>
          <p:cNvPr id="679" name="Chart 678">
            <a:extLst>
              <a:ext uri="{FF2B5EF4-FFF2-40B4-BE49-F238E27FC236}">
                <a16:creationId xmlns:a16="http://schemas.microsoft.com/office/drawing/2014/main" id="{7613DDA6-7327-7BAE-CB9F-7BA025183AA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8562785"/>
              </p:ext>
            </p:extLst>
          </p:nvPr>
        </p:nvGraphicFramePr>
        <p:xfrm>
          <a:off x="5589588" y="2508250"/>
          <a:ext cx="6376987" cy="378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628" name="Straight Connector 627">
            <a:extLst>
              <a:ext uri="{FF2B5EF4-FFF2-40B4-BE49-F238E27FC236}">
                <a16:creationId xmlns:a16="http://schemas.microsoft.com/office/drawing/2014/main" id="{22D6E336-B47D-52DA-BC3C-9D816FA74C9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6353175" y="2825750"/>
            <a:ext cx="0" cy="7620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974289DA-9B00-190E-7C27-62C4B474994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6353175" y="2825750"/>
            <a:ext cx="5530850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8C92A6ED-F732-E668-B75B-7C34A3A6B2D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1884025" y="2825750"/>
            <a:ext cx="0" cy="2232025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3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00775" y="6161088"/>
            <a:ext cx="16510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B86AF0-A64D-4B3A-A8D6-41E43302560D}" type="datetime'2''''''''''''0''''22''''''''''''''-''J''a''''''n'''''''''''''">
              <a:rPr lang="en-US" altLang="en-US" sz="1200" smtClean="0">
                <a:solidFill>
                  <a:srgbClr val="808080"/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Jan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4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480175" y="6161088"/>
            <a:ext cx="16510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AC5E88-6A65-42F8-81FF-1B195D0D39EE}" type="datetime'''2''''0''2''''''''''''2''''''''''''''''''''''''''''''-Feb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Feb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5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761163" y="6161088"/>
            <a:ext cx="165100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F4174C-0C4D-493E-97A4-5476E812985D}" type="datetime'''2''0''''''''2''''''2''-''M''''''ar''''''''''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Mar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6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040563" y="6161088"/>
            <a:ext cx="165100" cy="57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E34DFB-B5B3-41B7-B63F-5D0F0A1C2A25}" type="datetime'2''0''''2''''''''''''''''2-Ap''''r''''''''''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Apr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21550" y="6161088"/>
            <a:ext cx="165100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C6B18B-3A83-43E2-8385-1E199D520E17}" type="datetime'''''''''2''0''''''2''''2''''''''''''-''''''''M''''''a''''y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May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8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600950" y="6161088"/>
            <a:ext cx="165100" cy="56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B0B692-75BC-4259-96D4-FD80EF48F2F7}" type="datetime'''''2''''''''02''2''''''-''''''J''''''''u''''n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Jun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69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880350" y="6161088"/>
            <a:ext cx="165100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47692CF-BD99-4E30-8BB5-CAC43FA5F77B}" type="datetime'2''0''''''''''''''''2''''2''''-''''''''''J''''''''''''u''l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Jul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61338" y="6161088"/>
            <a:ext cx="16510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44DA1A-1E12-4551-A803-EF162C2D5D3D}" type="datetime'2''''''0''2''''2''''-''A''u''''g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Aug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440738" y="6161088"/>
            <a:ext cx="165100" cy="582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276527-C3B5-4480-BB10-AD04B256261A}" type="datetime'2''''''0''''''''''22''''''''''''-''''''''Sep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Sep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721725" y="6161088"/>
            <a:ext cx="165100" cy="57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10238ED-50EB-4018-AEC7-C8B44FFF20A4}" type="datetime'''''''''2''''0''''22-''O''''''''''''''''''c''t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Oct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001125" y="6161088"/>
            <a:ext cx="165100" cy="604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4B76B0-EA35-4C63-8F5E-E0FD6B8A69F5}" type="datetime'2''''''''''''''''''02''2''''''''''''''-''N''''''ov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Nov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280525" y="6161088"/>
            <a:ext cx="165100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DBA7B1-174D-476F-848D-6CBF8667909C}" type="datetime'''''''''''''''''2''''0''2''''2''''''''''-''''D''e''''c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2-Dec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561513" y="6161088"/>
            <a:ext cx="16510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EE60F1-E1AB-4CB4-85C3-A4FA8878DAB3}" type="datetime'''20''2''''3-''''''J''''''''''''''''a''''n''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Jan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840913" y="6161088"/>
            <a:ext cx="16510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7085E8-F1E0-40FB-8E75-86E87FD539F5}" type="datetime'2''''0''''''''2''''''''''''''''''''''''''3-F''''''e''b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Feb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121900" y="6161088"/>
            <a:ext cx="165100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245D390-6011-4E8F-9C1D-BC6BDA53C5A1}" type="datetime'''2''''0''''2''3-M''''a''''''''''''r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Mar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401300" y="6161088"/>
            <a:ext cx="165100" cy="57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FA668B-D874-404F-B8DE-F183BE7479EE}" type="datetime'''2''''''''''''''''''02''''3''''''-''Apr''''''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Apr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680700" y="6161088"/>
            <a:ext cx="165100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56A28F-84F1-4E2B-BBFE-12B2952E6BD7}" type="datetime'''''2''0''''2''''''''3''''-M''''''''''''''''''''''a''''''y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May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961688" y="6161088"/>
            <a:ext cx="165100" cy="56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F79AE4-1331-42D9-B83A-9681646AA176}" type="datetime'''''20''''''''''''''2''''3''-J''''''un''''''''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Jun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241088" y="6161088"/>
            <a:ext cx="165100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456601-EF09-4840-B20A-0BA7C9C45D22}" type="datetime'2''''''''''''''''''0''''2''''''''3''''''''-''''''''Ju''''''l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Jul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522075" y="6161088"/>
            <a:ext cx="16510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1E4C7DA-EE19-4F55-81C0-270B6C485687}" type="datetime'2''''02''''''''''''''3''''''''''-A''''u''''g''''''''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Aug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1801475" y="6161088"/>
            <a:ext cx="165100" cy="582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8CA9A4-678C-488B-A805-D7DEF4F6C37D}" type="datetime'''''2''0''''''''''''2''''3''''''-''''S''e''''''''''''''''''p'">
              <a:rPr lang="en-US" altLang="en-US" sz="1200" smtClean="0">
                <a:solidFill>
                  <a:srgbClr val="808080"/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Sep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627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859838" y="2689225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rgbClr val="C30C3E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F919E8-B199-4BBA-9BEC-988C672A28D0}" type="datetime'''''''''''''''''-''''6''''''''''''''''''''8''''''''%'''''">
              <a:rPr lang="en-US" altLang="en-US" sz="1400" b="1" smtClean="0">
                <a:effectLst/>
              </a:rPr>
              <a:pPr/>
              <a:t>-68%</a:t>
            </a:fld>
            <a:endParaRPr lang="en-US" sz="1400" b="1" dirty="0"/>
          </a:p>
        </p:txBody>
      </p: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F32B5BB7-8B94-E6CC-DBF2-9C22EE3A330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9866313" y="3914775"/>
            <a:ext cx="222250" cy="0"/>
          </a:xfrm>
          <a:prstGeom prst="line">
            <a:avLst/>
          </a:prstGeom>
          <a:ln w="28575" cap="rnd" cmpd="sng" algn="ctr">
            <a:solidFill>
              <a:srgbClr val="96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4" name="Text Placeholder 2">
            <a:extLst>
              <a:ext uri="{FF2B5EF4-FFF2-40B4-BE49-F238E27FC236}">
                <a16:creationId xmlns:a16="http://schemas.microsoft.com/office/drawing/2014/main" id="{33BD88B8-869E-153B-BCBD-B8A39F0EB18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53649" y="3832225"/>
            <a:ext cx="736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86F8427-CA5D-41BA-88EB-0C8708AAD75A}" type="datetime'C''ol''''''''o''''''''rb''''''''''''''''u''''d''''''s'">
              <a:rPr lang="en-US" altLang="en-US" sz="1400" smtClean="0"/>
              <a:pPr/>
              <a:t>Colorbuds</a:t>
            </a:fld>
            <a:endParaRPr lang="en-US" sz="1400" dirty="0"/>
          </a:p>
        </p:txBody>
      </p:sp>
      <p:sp>
        <p:nvSpPr>
          <p:cNvPr id="637" name="TextBox 636">
            <a:extLst>
              <a:ext uri="{FF2B5EF4-FFF2-40B4-BE49-F238E27FC236}">
                <a16:creationId xmlns:a16="http://schemas.microsoft.com/office/drawing/2014/main" id="{4E89F741-88AC-F214-0F8F-11C0BC6F0357}"/>
              </a:ext>
            </a:extLst>
          </p:cNvPr>
          <p:cNvSpPr txBox="1"/>
          <p:nvPr/>
        </p:nvSpPr>
        <p:spPr>
          <a:xfrm>
            <a:off x="108096" y="239661"/>
            <a:ext cx="8859326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dirty="0">
                <a:latin typeface="Arial Rounded MT Bold" panose="020F0704030504030204" pitchFamily="34" charset="0"/>
              </a:rPr>
              <a:t>The top electronics product, </a:t>
            </a:r>
            <a:r>
              <a:rPr lang="en-US" sz="2400" dirty="0">
                <a:solidFill>
                  <a:srgbClr val="960000"/>
                </a:solidFill>
                <a:latin typeface="Arial Rounded MT Bold" panose="020F0704030504030204" pitchFamily="34" charset="0"/>
              </a:rPr>
              <a:t>ColorBuds</a:t>
            </a:r>
            <a:r>
              <a:rPr lang="en-US" sz="2400" dirty="0">
                <a:latin typeface="Arial Rounded MT Bold" panose="020F0704030504030204" pitchFamily="34" charset="0"/>
              </a:rPr>
              <a:t>, has experienced </a:t>
            </a:r>
          </a:p>
          <a:p>
            <a:r>
              <a:rPr lang="en-US" sz="2400" dirty="0">
                <a:latin typeface="Arial Rounded MT Bold" panose="020F0704030504030204" pitchFamily="34" charset="0"/>
              </a:rPr>
              <a:t>a steady decline in total profit since its launch.</a:t>
            </a:r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1EDBB295-999C-54D4-DE51-B67B6AD0798F}"/>
              </a:ext>
            </a:extLst>
          </p:cNvPr>
          <p:cNvSpPr txBox="1"/>
          <p:nvPr/>
        </p:nvSpPr>
        <p:spPr>
          <a:xfrm>
            <a:off x="108096" y="1162706"/>
            <a:ext cx="7143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Buds, once the most profitable product in the Electronics category, has faced a 42% decline in total profit since its launch, signaling the need for strategic intervention.</a:t>
            </a:r>
          </a:p>
        </p:txBody>
      </p:sp>
    </p:spTree>
    <p:extLst>
      <p:ext uri="{BB962C8B-B14F-4D97-AF65-F5344CB8AC3E}">
        <p14:creationId xmlns:p14="http://schemas.microsoft.com/office/powerpoint/2010/main" val="583031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18FBD0-5C51-8292-1FA6-E0AD9FD6E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684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6E451D0-E289-E158-00FA-F00F42C285C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A79667-1324-B780-54D2-A15096F0080E}"/>
              </a:ext>
            </a:extLst>
          </p:cNvPr>
          <p:cNvGrpSpPr/>
          <p:nvPr/>
        </p:nvGrpSpPr>
        <p:grpSpPr>
          <a:xfrm>
            <a:off x="970671" y="182879"/>
            <a:ext cx="3556781" cy="984739"/>
            <a:chOff x="7052232" y="731520"/>
            <a:chExt cx="3556781" cy="984739"/>
          </a:xfrm>
          <a:solidFill>
            <a:srgbClr val="00206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3F091D6E-675D-55C2-CD28-F36799405B49}"/>
                </a:ext>
              </a:extLst>
            </p:cNvPr>
            <p:cNvSpPr/>
            <p:nvPr/>
          </p:nvSpPr>
          <p:spPr>
            <a:xfrm>
              <a:off x="7052232" y="731520"/>
              <a:ext cx="3556781" cy="9847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FC87BA8-CFAA-64F1-5E0F-8757CAC1A124}"/>
                </a:ext>
              </a:extLst>
            </p:cNvPr>
            <p:cNvSpPr txBox="1"/>
            <p:nvPr/>
          </p:nvSpPr>
          <p:spPr>
            <a:xfrm>
              <a:off x="7185132" y="931184"/>
              <a:ext cx="3423881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>
                      <a:lumMod val="95000"/>
                    </a:schemeClr>
                  </a:solidFill>
                  <a:latin typeface="Arial Rounded MT Bold" panose="020F0704030504030204" pitchFamily="34" charset="0"/>
                </a:rPr>
                <a:t>Insight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DF3ABE2-9B23-77CE-C810-5605C986A15F}"/>
              </a:ext>
            </a:extLst>
          </p:cNvPr>
          <p:cNvGrpSpPr/>
          <p:nvPr/>
        </p:nvGrpSpPr>
        <p:grpSpPr>
          <a:xfrm>
            <a:off x="7340994" y="182879"/>
            <a:ext cx="3556781" cy="984739"/>
            <a:chOff x="745588" y="731520"/>
            <a:chExt cx="3556781" cy="984739"/>
          </a:xfrm>
          <a:solidFill>
            <a:srgbClr val="00206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9DA916C8-512D-C734-3505-80A1E6EF0105}"/>
                </a:ext>
              </a:extLst>
            </p:cNvPr>
            <p:cNvSpPr/>
            <p:nvPr/>
          </p:nvSpPr>
          <p:spPr>
            <a:xfrm>
              <a:off x="745588" y="731520"/>
              <a:ext cx="3556781" cy="9847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B013792-68A3-5760-885F-8BADE7F9581E}"/>
                </a:ext>
              </a:extLst>
            </p:cNvPr>
            <p:cNvSpPr txBox="1"/>
            <p:nvPr/>
          </p:nvSpPr>
          <p:spPr>
            <a:xfrm>
              <a:off x="878488" y="928468"/>
              <a:ext cx="3423881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rial Rounded MT Bold" panose="020F0704030504030204" pitchFamily="34" charset="0"/>
                </a:rPr>
                <a:t>Recommendations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96AA5046-6262-8ACD-CAA6-B8559B15378D}"/>
              </a:ext>
            </a:extLst>
          </p:cNvPr>
          <p:cNvSpPr txBox="1"/>
          <p:nvPr/>
        </p:nvSpPr>
        <p:spPr>
          <a:xfrm>
            <a:off x="147001" y="1535643"/>
            <a:ext cx="5801998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023 Growth Despite Uneven Category Contribution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  <a:endParaRPr lang="en-US" altLang="en-US" sz="1400" dirty="0">
              <a:latin typeface="Arial" panose="020B0604020202020204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tal profit is forecasted to grow by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6%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year-over-year, driven primarily by th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rts &amp; Craft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ategory.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owever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lectronic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has shown a consistent decline, reducing its share of total profit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ategory-Specific Performance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rts &amp; Craft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aw a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300% increase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 Q4 2022, stabilized at higher profit levels in 2023, largely due to new product launches.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lorBud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the flagship electronics product, has experienced a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42% drop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 total profit since launch, reflecting challenges in sustaining its market position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st-Performance Dynamic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st trends in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rts &amp; Craft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nd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lectronic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losely mirror revenue patterns, highlighting the impact of operational efficiency on profit margin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erging Role of New Product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w product launches significantly influenced th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rts &amp; Craft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profit surge, demonstrating the potential of innovation in driving category performanc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4666727-9EB0-0B40-D9C6-B0A83793A2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3001" y="1535643"/>
            <a:ext cx="5948999" cy="4724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argeted Electronics Strategy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duct a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ep-dive analysi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to the decline of ColorBuds and broader electronics performance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sider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duct redesig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enhanced marketing, or cost optimization to revive profitability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everage Arts &amp; Crafts Momentum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pand the successful product lines within Arts &amp; Crafts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llocate resources to replicate the success of new product launches across other categories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roduc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st control measure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ligned with revenue patterns to sustain profitability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versify Product Portfolio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vest in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&amp;D and market analysi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to identify trends and launch new high-margin product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nitor Key Performance Indicators (KPIs)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rack metrics lik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fit margi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tal sale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and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st-to-revenue ratio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r continuous improvement.</a:t>
            </a:r>
          </a:p>
          <a:p>
            <a:pPr marL="742950" lvl="1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et actionable benchmarks for category contributions and overall growth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227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1.89999999999999991118E+00&quot;&gt;&lt;m_msothmcolidx val=&quot;0&quot;/&gt;&lt;m_rgb r=&quot;96&quot; g=&quot;00&quot; b=&quot;00&quot;/&gt;&lt;/elem&gt;&lt;elem m_fUsage=&quot;1.12193100000000001160E+00&quot;&gt;&lt;m_msothmcolidx val=&quot;0&quot;/&gt;&lt;m_rgb r=&quot;13&quot; g=&quot;0C&quot; b=&quot;45&quot;/&gt;&lt;/elem&gt;&lt;elem m_fUsage=&quot;8.10000000000000053291E-01&quot;&gt;&lt;m_msothmcolidx val=&quot;0&quot;/&gt;&lt;m_rgb r=&quot;70&quot; g=&quot;07&quot; b=&quot;17&quot;/&gt;&lt;/elem&gt;&lt;elem m_fUsage=&quot;7.29000000000000092371E-01&quot;&gt;&lt;m_msothmcolidx val=&quot;0&quot;/&gt;&lt;m_rgb r=&quot;76&quot; g=&quot;07&quot; b=&quot;30&quot;/&gt;&lt;/elem&gt;&lt;elem m_fUsage=&quot;6.56100000000000127542E-01&quot;&gt;&lt;m_msothmcolidx val=&quot;0&quot;/&gt;&lt;m_rgb r=&quot;60&quot; g=&quot;06&quot; b=&quot;18&quot;/&gt;&lt;/elem&gt;&lt;elem m_fUsage=&quot;4.78296900000000135833E-01&quot;&gt;&lt;m_msothmcolidx val=&quot;0&quot;/&gt;&lt;m_rgb r=&quot;28&quot; g=&quot;19&quot; b=&quot;92&quot;/&gt;&lt;/elem&gt;&lt;elem m_fUsage=&quot;4.30467210000000155556E-01&quot;&gt;&lt;m_msothmcolidx val=&quot;0&quot;/&gt;&lt;m_rgb r=&quot;45&quot; g=&quot;41&quot; b=&quot;7E&quot;/&gt;&lt;/elem&gt;&lt;elem m_fUsage=&quot;3.87420489000000145552E-01&quot;&gt;&lt;m_msothmcolidx val=&quot;0&quot;/&gt;&lt;m_rgb r=&quot;E6&quot; g=&quot;DB&quot; b=&quot;F3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EMMYVpleCaIdfFCDaJ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vhktlcNruQeqmKsGKC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v0._1_74sHiiLFZfy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IRJ0.bJCtMDnS5ggbn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rXAWDPLVpRjWT8766J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_VhoKh1hoos1CDsDgr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3E3.D_h4HFvOsxbOh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w8HMPYMi4YxMRfQuH3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4g5_g3nyMGlnJQr3qq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yzYqLFptYo.ziXNZ5f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7QoB5vTwT7BAP05kNq6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jEiu4FW9NnTOhynEKs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9t2pjnAeuF5OuZSbB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sp1p50Y5puPoGb_cnC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QXtonDjxu_lG3VvoyE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.BWw_.PtcAzBYN8qt3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sPmypqTCuD_JJ09uT5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O7smk50efa695w3hOv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6zdkHkRAJGOr.HT8K9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tQ.ojYXcmO2DA2q1cPP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n_tHFaMnEcFxueG0FB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HWeVXgHHiWXTxf_NV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F8hes6XpcEkCNwT6zV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NeFbNohVln3zeTVLk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.V8Mwa_GTkalr02yE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fbt87dm0z5Buh.g1qf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uTJBqk2Yfdpeo.mfaz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ZGYy_v.JuiaPf2sfhl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xxsosRkKH0v6PzwdIg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rZC1MHHb7OL69nGiDH1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8l479vcHloH2dfaIHP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NjAOUh3mypwDx5GHZ6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Ubg1gltvx1QNhdImzF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8a1E33yLkhxCguJGI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x_6W6kRrwTbDaZh5mg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ubb9i9W3S2E8nmemKm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C55tV0ZkguCbjbhkJaE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nCzPBCm26gjBfzavs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a8QV8UD8HyC6EkD.Z_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9Ol4yKU2vYjJ4sHhz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ApsV5qlQkp3SSGc9Q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u2HLg1zwmSgB1fHTf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HM61lOUZY9xLS5rCwM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QBlzqbDfGxi1hNqXK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kP5xHTgCEYvSbcyrD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X3TwTFEE_ww3gj4oSDD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64</TotalTime>
  <Words>1205</Words>
  <Application>Microsoft Office PowerPoint</Application>
  <PresentationFormat>Widescreen</PresentationFormat>
  <Paragraphs>26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 Display</vt:lpstr>
      <vt:lpstr>Arial</vt:lpstr>
      <vt:lpstr>Arial Rounded MT Bold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NIOLA ADEJORI</dc:creator>
  <cp:lastModifiedBy>ENIOLA ADEJORI</cp:lastModifiedBy>
  <cp:revision>11</cp:revision>
  <dcterms:created xsi:type="dcterms:W3CDTF">2024-11-22T14:53:15Z</dcterms:created>
  <dcterms:modified xsi:type="dcterms:W3CDTF">2024-12-24T19:57:57Z</dcterms:modified>
</cp:coreProperties>
</file>